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33"/>
  </p:notesMasterIdLst>
  <p:handoutMasterIdLst>
    <p:handoutMasterId r:id="rId34"/>
  </p:handoutMasterIdLst>
  <p:sldIdLst>
    <p:sldId id="343" r:id="rId5"/>
    <p:sldId id="295" r:id="rId6"/>
    <p:sldId id="344" r:id="rId7"/>
    <p:sldId id="299" r:id="rId8"/>
    <p:sldId id="319" r:id="rId9"/>
    <p:sldId id="320" r:id="rId10"/>
    <p:sldId id="302" r:id="rId11"/>
    <p:sldId id="321" r:id="rId12"/>
    <p:sldId id="322" r:id="rId13"/>
    <p:sldId id="323" r:id="rId14"/>
    <p:sldId id="324" r:id="rId15"/>
    <p:sldId id="326" r:id="rId16"/>
    <p:sldId id="325" r:id="rId17"/>
    <p:sldId id="327" r:id="rId18"/>
    <p:sldId id="328" r:id="rId19"/>
    <p:sldId id="329" r:id="rId20"/>
    <p:sldId id="330" r:id="rId21"/>
    <p:sldId id="331" r:id="rId22"/>
    <p:sldId id="333" r:id="rId23"/>
    <p:sldId id="334" r:id="rId24"/>
    <p:sldId id="332" r:id="rId25"/>
    <p:sldId id="335" r:id="rId26"/>
    <p:sldId id="336" r:id="rId27"/>
    <p:sldId id="337" r:id="rId28"/>
    <p:sldId id="338" r:id="rId29"/>
    <p:sldId id="339" r:id="rId30"/>
    <p:sldId id="340" r:id="rId31"/>
    <p:sldId id="341" r:id="rId32"/>
  </p:sldIdLst>
  <p:sldSz cx="12192000" cy="6858000"/>
  <p:notesSz cx="7010400" cy="9296400"/>
  <p:custDataLst>
    <p:tags r:id="rId35"/>
  </p:custDataLst>
  <p:defaultTextStyle>
    <a:defPPr>
      <a:defRPr lang="es-C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avier Cervero" initials="JC" lastIdx="1" clrIdx="0">
    <p:extLst>
      <p:ext uri="{19B8F6BF-5375-455C-9EA6-DF929625EA0E}">
        <p15:presenceInfo xmlns:p15="http://schemas.microsoft.com/office/powerpoint/2012/main" userId="9f23c29d40676027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2B77"/>
    <a:srgbClr val="D9D9D9"/>
    <a:srgbClr val="F2F2F2"/>
    <a:srgbClr val="000000"/>
    <a:srgbClr val="FFFFFF"/>
    <a:srgbClr val="00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0D0C44A-F143-900B-EC35-314AF2D34A85}" v="61" dt="2022-12-28T21:33:16.64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356" autoAdjust="0"/>
    <p:restoredTop sz="94434" autoAdjust="0"/>
  </p:normalViewPr>
  <p:slideViewPr>
    <p:cSldViewPr snapToGrid="0">
      <p:cViewPr varScale="1">
        <p:scale>
          <a:sx n="42" d="100"/>
          <a:sy n="42" d="100"/>
        </p:scale>
        <p:origin x="36" y="51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54" d="100"/>
          <a:sy n="54" d="100"/>
        </p:scale>
        <p:origin x="2820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heme" Target="theme/theme1.xml"/><Relationship Id="rId21" Type="http://schemas.openxmlformats.org/officeDocument/2006/relationships/slide" Target="slides/slide17.xml"/><Relationship Id="rId34" Type="http://schemas.openxmlformats.org/officeDocument/2006/relationships/handoutMaster" Target="handoutMasters/handoutMaster1.xml"/><Relationship Id="rId42" Type="http://schemas.microsoft.com/office/2015/10/relationships/revisionInfo" Target="revisionInfo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tags" Target="tags/tag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notesMaster" Target="notesMasters/notesMaster1.xml"/><Relationship Id="rId38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icia Zambrano B." userId="S::azambranob@duoc.cl::eaca8ede-10c1-4fdb-aeec-ecec6b688727" providerId="AD" clId="Web-{10D0C44A-F143-900B-EC35-314AF2D34A85}"/>
    <pc:docChg chg="delSld modSld">
      <pc:chgData name="Alicia Zambrano B." userId="S::azambranob@duoc.cl::eaca8ede-10c1-4fdb-aeec-ecec6b688727" providerId="AD" clId="Web-{10D0C44A-F143-900B-EC35-314AF2D34A85}" dt="2022-12-28T21:33:16.640" v="35" actId="1076"/>
      <pc:docMkLst>
        <pc:docMk/>
      </pc:docMkLst>
      <pc:sldChg chg="del">
        <pc:chgData name="Alicia Zambrano B." userId="S::azambranob@duoc.cl::eaca8ede-10c1-4fdb-aeec-ecec6b688727" providerId="AD" clId="Web-{10D0C44A-F143-900B-EC35-314AF2D34A85}" dt="2022-12-28T21:31:43.372" v="0"/>
        <pc:sldMkLst>
          <pc:docMk/>
          <pc:sldMk cId="1285586989" sldId="342"/>
        </pc:sldMkLst>
      </pc:sldChg>
      <pc:sldChg chg="addSp delSp modSp">
        <pc:chgData name="Alicia Zambrano B." userId="S::azambranob@duoc.cl::eaca8ede-10c1-4fdb-aeec-ecec6b688727" providerId="AD" clId="Web-{10D0C44A-F143-900B-EC35-314AF2D34A85}" dt="2022-12-28T21:33:16.640" v="35" actId="1076"/>
        <pc:sldMkLst>
          <pc:docMk/>
          <pc:sldMk cId="4038359838" sldId="343"/>
        </pc:sldMkLst>
        <pc:spChg chg="del mod">
          <ac:chgData name="Alicia Zambrano B." userId="S::azambranob@duoc.cl::eaca8ede-10c1-4fdb-aeec-ecec6b688727" providerId="AD" clId="Web-{10D0C44A-F143-900B-EC35-314AF2D34A85}" dt="2022-12-28T21:31:57.623" v="4"/>
          <ac:spMkLst>
            <pc:docMk/>
            <pc:sldMk cId="4038359838" sldId="343"/>
            <ac:spMk id="4" creationId="{07B15584-95E6-3649-8525-60E595905FC0}"/>
          </ac:spMkLst>
        </pc:spChg>
        <pc:spChg chg="add del mod">
          <ac:chgData name="Alicia Zambrano B." userId="S::azambranob@duoc.cl::eaca8ede-10c1-4fdb-aeec-ecec6b688727" providerId="AD" clId="Web-{10D0C44A-F143-900B-EC35-314AF2D34A85}" dt="2022-12-28T21:32:00.607" v="5"/>
          <ac:spMkLst>
            <pc:docMk/>
            <pc:sldMk cId="4038359838" sldId="343"/>
            <ac:spMk id="5" creationId="{9246D621-C2ED-FA9B-264D-370FABEB502E}"/>
          </ac:spMkLst>
        </pc:spChg>
        <pc:spChg chg="del">
          <ac:chgData name="Alicia Zambrano B." userId="S::azambranob@duoc.cl::eaca8ede-10c1-4fdb-aeec-ecec6b688727" providerId="AD" clId="Web-{10D0C44A-F143-900B-EC35-314AF2D34A85}" dt="2022-12-28T21:32:01.982" v="6"/>
          <ac:spMkLst>
            <pc:docMk/>
            <pc:sldMk cId="4038359838" sldId="343"/>
            <ac:spMk id="8" creationId="{922AFCB8-239F-634B-87EE-F69D82B39952}"/>
          </ac:spMkLst>
        </pc:spChg>
        <pc:spChg chg="add mod">
          <ac:chgData name="Alicia Zambrano B." userId="S::azambranob@duoc.cl::eaca8ede-10c1-4fdb-aeec-ecec6b688727" providerId="AD" clId="Web-{10D0C44A-F143-900B-EC35-314AF2D34A85}" dt="2022-12-28T21:33:12.343" v="33" actId="20577"/>
          <ac:spMkLst>
            <pc:docMk/>
            <pc:sldMk cId="4038359838" sldId="343"/>
            <ac:spMk id="12" creationId="{2EE41731-6B5E-0754-3913-0B1362E5EED6}"/>
          </ac:spMkLst>
        </pc:spChg>
        <pc:spChg chg="del">
          <ac:chgData name="Alicia Zambrano B." userId="S::azambranob@duoc.cl::eaca8ede-10c1-4fdb-aeec-ecec6b688727" providerId="AD" clId="Web-{10D0C44A-F143-900B-EC35-314AF2D34A85}" dt="2022-12-28T21:31:47.138" v="1"/>
          <ac:spMkLst>
            <pc:docMk/>
            <pc:sldMk cId="4038359838" sldId="343"/>
            <ac:spMk id="16" creationId="{00000000-0000-0000-0000-000000000000}"/>
          </ac:spMkLst>
        </pc:spChg>
        <pc:picChg chg="add mod">
          <ac:chgData name="Alicia Zambrano B." userId="S::azambranob@duoc.cl::eaca8ede-10c1-4fdb-aeec-ecec6b688727" providerId="AD" clId="Web-{10D0C44A-F143-900B-EC35-314AF2D34A85}" dt="2022-12-28T21:33:16.640" v="35" actId="1076"/>
          <ac:picMkLst>
            <pc:docMk/>
            <pc:sldMk cId="4038359838" sldId="343"/>
            <ac:picMk id="7" creationId="{40366972-EA21-27C5-B41C-D8D9B5DBFA5D}"/>
          </ac:picMkLst>
        </pc:picChg>
        <pc:picChg chg="add mod">
          <ac:chgData name="Alicia Zambrano B." userId="S::azambranob@duoc.cl::eaca8ede-10c1-4fdb-aeec-ecec6b688727" providerId="AD" clId="Web-{10D0C44A-F143-900B-EC35-314AF2D34A85}" dt="2022-12-28T21:33:14.937" v="34" actId="1076"/>
          <ac:picMkLst>
            <pc:docMk/>
            <pc:sldMk cId="4038359838" sldId="343"/>
            <ac:picMk id="10" creationId="{2BB2CB35-4C1E-85DC-FC12-C6BBEDE52B5C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B9F7BBCF-2B73-488E-8A76-46A463536505}" type="datetimeFigureOut">
              <a:rPr lang="es-CL" smtClean="0"/>
              <a:t>28-12-2022</a:t>
            </a:fld>
            <a:endParaRPr lang="es-CL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3611A9AB-EC1F-4624-B961-8357686CDA04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8468539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A884DC73-4F61-4AA3-BEDE-6E5515AC637D}" type="datetimeFigureOut">
              <a:rPr lang="es-CL" smtClean="0"/>
              <a:t>28-12-2022</a:t>
            </a:fld>
            <a:endParaRPr lang="es-CL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s-CL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8F4ACC2E-2676-4A7A-9E11-A8F1E5FB70A0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022431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6ACC00-114C-45F4-801A-A27801F22ACA}" type="slidenum">
              <a:rPr lang="es-CL" smtClean="0"/>
              <a:t>2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7618577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181675"/>
            <a:ext cx="6394638" cy="1684770"/>
          </a:xfrm>
          <a:prstGeom prst="rect">
            <a:avLst/>
          </a:prstGeom>
        </p:spPr>
      </p:pic>
      <p:pic>
        <p:nvPicPr>
          <p:cNvPr id="8" name="Imagen 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0306" y="6176963"/>
            <a:ext cx="2611694" cy="743984"/>
          </a:xfrm>
          <a:prstGeom prst="rect">
            <a:avLst/>
          </a:prstGeom>
        </p:spPr>
      </p:pic>
      <p:pic>
        <p:nvPicPr>
          <p:cNvPr id="9" name="Picture 9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3141" y="-93684"/>
            <a:ext cx="505059" cy="1495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70106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 descr="Imagen que contiene cd, motor&#10;&#10;Descripción generada automáticamente">
            <a:extLst>
              <a:ext uri="{FF2B5EF4-FFF2-40B4-BE49-F238E27FC236}">
                <a16:creationId xmlns:a16="http://schemas.microsoft.com/office/drawing/2014/main" id="{9683B854-432E-EB4B-809D-D0B17E54FAA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41"/>
            <a:ext cx="12192000" cy="6857519"/>
          </a:xfrm>
          <a:prstGeom prst="rect">
            <a:avLst/>
          </a:prstGeom>
        </p:spPr>
      </p:pic>
      <p:sp>
        <p:nvSpPr>
          <p:cNvPr id="24" name="object 12">
            <a:extLst>
              <a:ext uri="{FF2B5EF4-FFF2-40B4-BE49-F238E27FC236}">
                <a16:creationId xmlns:a16="http://schemas.microsoft.com/office/drawing/2014/main" id="{A0B885A4-9375-EA40-9DB9-9EEF31B074A9}"/>
              </a:ext>
            </a:extLst>
          </p:cNvPr>
          <p:cNvSpPr/>
          <p:nvPr userDrawn="1"/>
        </p:nvSpPr>
        <p:spPr>
          <a:xfrm>
            <a:off x="3088475" y="4468097"/>
            <a:ext cx="6485713" cy="32345"/>
          </a:xfrm>
          <a:custGeom>
            <a:avLst/>
            <a:gdLst/>
            <a:ahLst/>
            <a:cxnLst/>
            <a:rect l="l" t="t" r="r" b="b"/>
            <a:pathLst>
              <a:path w="10694669" h="53340">
                <a:moveTo>
                  <a:pt x="10667601" y="0"/>
                </a:moveTo>
                <a:lnTo>
                  <a:pt x="26606" y="0"/>
                </a:lnTo>
                <a:lnTo>
                  <a:pt x="16264" y="2097"/>
                </a:lnTo>
                <a:lnTo>
                  <a:pt x="7806" y="7809"/>
                </a:lnTo>
                <a:lnTo>
                  <a:pt x="2095" y="16269"/>
                </a:lnTo>
                <a:lnTo>
                  <a:pt x="0" y="26606"/>
                </a:lnTo>
                <a:lnTo>
                  <a:pt x="2095" y="36942"/>
                </a:lnTo>
                <a:lnTo>
                  <a:pt x="7806" y="45397"/>
                </a:lnTo>
                <a:lnTo>
                  <a:pt x="16264" y="51106"/>
                </a:lnTo>
                <a:lnTo>
                  <a:pt x="26606" y="53202"/>
                </a:lnTo>
                <a:lnTo>
                  <a:pt x="10667601" y="53202"/>
                </a:lnTo>
                <a:lnTo>
                  <a:pt x="10677937" y="51106"/>
                </a:lnTo>
                <a:lnTo>
                  <a:pt x="10686393" y="45397"/>
                </a:lnTo>
                <a:lnTo>
                  <a:pt x="10692102" y="36942"/>
                </a:lnTo>
                <a:lnTo>
                  <a:pt x="10694197" y="26606"/>
                </a:lnTo>
                <a:lnTo>
                  <a:pt x="10692102" y="16269"/>
                </a:lnTo>
                <a:lnTo>
                  <a:pt x="10686393" y="7809"/>
                </a:lnTo>
                <a:lnTo>
                  <a:pt x="10677937" y="2097"/>
                </a:lnTo>
                <a:lnTo>
                  <a:pt x="10667601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2" dirty="0"/>
          </a:p>
        </p:txBody>
      </p:sp>
      <p:sp>
        <p:nvSpPr>
          <p:cNvPr id="25" name="object 6">
            <a:extLst>
              <a:ext uri="{FF2B5EF4-FFF2-40B4-BE49-F238E27FC236}">
                <a16:creationId xmlns:a16="http://schemas.microsoft.com/office/drawing/2014/main" id="{3DF417FE-825D-8D41-8EF5-B5AA503D5EA8}"/>
              </a:ext>
            </a:extLst>
          </p:cNvPr>
          <p:cNvSpPr/>
          <p:nvPr userDrawn="1"/>
        </p:nvSpPr>
        <p:spPr>
          <a:xfrm>
            <a:off x="3088475" y="3834001"/>
            <a:ext cx="6485713" cy="634096"/>
          </a:xfrm>
          <a:custGeom>
            <a:avLst/>
            <a:gdLst/>
            <a:ahLst/>
            <a:cxnLst/>
            <a:rect l="l" t="t" r="r" b="b"/>
            <a:pathLst>
              <a:path w="10694669" h="1025525">
                <a:moveTo>
                  <a:pt x="10694197" y="0"/>
                </a:moveTo>
                <a:lnTo>
                  <a:pt x="0" y="0"/>
                </a:lnTo>
                <a:lnTo>
                  <a:pt x="0" y="1025330"/>
                </a:lnTo>
                <a:lnTo>
                  <a:pt x="10694197" y="1025330"/>
                </a:lnTo>
                <a:lnTo>
                  <a:pt x="10694197" y="0"/>
                </a:lnTo>
                <a:close/>
              </a:path>
            </a:pathLst>
          </a:custGeom>
          <a:solidFill>
            <a:srgbClr val="307DE1"/>
          </a:solidFill>
        </p:spPr>
        <p:txBody>
          <a:bodyPr wrap="square" lIns="0" tIns="0" rIns="0" bIns="0" rtlCol="0"/>
          <a:lstStyle/>
          <a:p>
            <a:endParaRPr sz="1092" dirty="0"/>
          </a:p>
        </p:txBody>
      </p:sp>
      <p:sp>
        <p:nvSpPr>
          <p:cNvPr id="30" name="Marcador de texto 8">
            <a:extLst>
              <a:ext uri="{FF2B5EF4-FFF2-40B4-BE49-F238E27FC236}">
                <a16:creationId xmlns:a16="http://schemas.microsoft.com/office/drawing/2014/main" id="{D8298CF0-1D54-6247-B7EE-D42E3B9F8B7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116150" y="3881760"/>
            <a:ext cx="6458038" cy="503917"/>
          </a:xfrm>
        </p:spPr>
        <p:txBody>
          <a:bodyPr/>
          <a:lstStyle>
            <a:lvl1pPr algn="ctr">
              <a:defRPr sz="3275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SUBTITULO: LOREN IPSUM</a:t>
            </a:r>
            <a:endParaRPr lang="es-CL" dirty="0"/>
          </a:p>
        </p:txBody>
      </p:sp>
      <p:sp>
        <p:nvSpPr>
          <p:cNvPr id="35" name="Marcador de texto 34">
            <a:extLst>
              <a:ext uri="{FF2B5EF4-FFF2-40B4-BE49-F238E27FC236}">
                <a16:creationId xmlns:a16="http://schemas.microsoft.com/office/drawing/2014/main" id="{6A6FEFC9-11EC-B84F-A8C2-5DF3FAB58E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61231" y="3181445"/>
            <a:ext cx="6931648" cy="559908"/>
          </a:xfrm>
        </p:spPr>
        <p:txBody>
          <a:bodyPr/>
          <a:lstStyle>
            <a:lvl1pPr algn="ctr">
              <a:defRPr sz="3638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TÍTULO: LOREM IPSUM</a:t>
            </a:r>
            <a:endParaRPr lang="es-CL" dirty="0"/>
          </a:p>
        </p:txBody>
      </p:sp>
      <p:sp>
        <p:nvSpPr>
          <p:cNvPr id="39" name="Marcador de texto 38">
            <a:extLst>
              <a:ext uri="{FF2B5EF4-FFF2-40B4-BE49-F238E27FC236}">
                <a16:creationId xmlns:a16="http://schemas.microsoft.com/office/drawing/2014/main" id="{C429B471-41F5-B54F-BE9E-5E63FBAF296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88475" y="4655238"/>
            <a:ext cx="6485906" cy="298618"/>
          </a:xfrm>
        </p:spPr>
        <p:txBody>
          <a:bodyPr/>
          <a:lstStyle>
            <a:lvl1pPr algn="ctr">
              <a:defRPr sz="194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CL" sz="1940" b="0" spc="6" dirty="0">
                <a:latin typeface="Arial"/>
                <a:cs typeface="Arial"/>
              </a:rPr>
              <a:t>Lorem ipsum </a:t>
            </a:r>
            <a:r>
              <a:rPr lang="es-CL" sz="1940" b="0" spc="3" dirty="0">
                <a:latin typeface="Arial"/>
                <a:cs typeface="Arial"/>
              </a:rPr>
              <a:t>dolor sit </a:t>
            </a:r>
            <a:r>
              <a:rPr lang="es-CL" sz="1940" b="0" spc="6" dirty="0">
                <a:latin typeface="Arial"/>
                <a:cs typeface="Arial"/>
              </a:rPr>
              <a:t>amet, consectetuer </a:t>
            </a:r>
            <a:r>
              <a:rPr lang="es-CL" sz="1940" b="0" spc="3" dirty="0">
                <a:latin typeface="Arial"/>
                <a:cs typeface="Arial"/>
              </a:rPr>
              <a:t>adipiscing </a:t>
            </a:r>
            <a:r>
              <a:rPr lang="es-CL" sz="1940" b="0" dirty="0">
                <a:latin typeface="Arial"/>
                <a:cs typeface="Arial"/>
              </a:rPr>
              <a:t>elit</a:t>
            </a:r>
            <a:endParaRPr lang="es-CL" dirty="0"/>
          </a:p>
        </p:txBody>
      </p:sp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A5BA8542-890F-EA40-B8CD-356F1585BC4A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12/28/2022</a:t>
            </a:fld>
            <a:endParaRPr lang="en-U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3872C656-E25F-0F4A-AB72-70B904D7896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6F15528-21DE-4FAA-801E-634DDDAF4B2B}" type="slidenum">
              <a:rPr lang="es-CL" smtClean="0"/>
              <a:t>‹Nº›</a:t>
            </a:fld>
            <a:endParaRPr lang="es-CL"/>
          </a:p>
        </p:txBody>
      </p:sp>
      <p:pic>
        <p:nvPicPr>
          <p:cNvPr id="28" name="Imagen 27">
            <a:extLst>
              <a:ext uri="{FF2B5EF4-FFF2-40B4-BE49-F238E27FC236}">
                <a16:creationId xmlns:a16="http://schemas.microsoft.com/office/drawing/2014/main" id="{CEFCCC79-9402-1A4A-9BAC-5814C2E4C98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2060" y="5145301"/>
            <a:ext cx="3772560" cy="1240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39571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">
            <a:extLst>
              <a:ext uri="{FF2B5EF4-FFF2-40B4-BE49-F238E27FC236}">
                <a16:creationId xmlns:a16="http://schemas.microsoft.com/office/drawing/2014/main" id="{0B3FA83C-460E-AC40-8C3B-EF325171A0AC}"/>
              </a:ext>
            </a:extLst>
          </p:cNvPr>
          <p:cNvSpPr/>
          <p:nvPr userDrawn="1"/>
        </p:nvSpPr>
        <p:spPr>
          <a:xfrm>
            <a:off x="9844651" y="6248963"/>
            <a:ext cx="981598" cy="318448"/>
          </a:xfrm>
          <a:custGeom>
            <a:avLst/>
            <a:gdLst/>
            <a:ahLst/>
            <a:cxnLst/>
            <a:rect l="l" t="t" r="r" b="b"/>
            <a:pathLst>
              <a:path w="1618615" h="525145">
                <a:moveTo>
                  <a:pt x="453097" y="247865"/>
                </a:moveTo>
                <a:lnTo>
                  <a:pt x="449186" y="196367"/>
                </a:lnTo>
                <a:lnTo>
                  <a:pt x="437921" y="151307"/>
                </a:lnTo>
                <a:lnTo>
                  <a:pt x="419925" y="112522"/>
                </a:lnTo>
                <a:lnTo>
                  <a:pt x="395884" y="79870"/>
                </a:lnTo>
                <a:lnTo>
                  <a:pt x="366445" y="53213"/>
                </a:lnTo>
                <a:lnTo>
                  <a:pt x="330708" y="31546"/>
                </a:lnTo>
                <a:lnTo>
                  <a:pt x="330708" y="251650"/>
                </a:lnTo>
                <a:lnTo>
                  <a:pt x="325094" y="307492"/>
                </a:lnTo>
                <a:lnTo>
                  <a:pt x="308851" y="352729"/>
                </a:lnTo>
                <a:lnTo>
                  <a:pt x="282892" y="387540"/>
                </a:lnTo>
                <a:lnTo>
                  <a:pt x="248132" y="412089"/>
                </a:lnTo>
                <a:lnTo>
                  <a:pt x="205486" y="426542"/>
                </a:lnTo>
                <a:lnTo>
                  <a:pt x="155841" y="431076"/>
                </a:lnTo>
                <a:lnTo>
                  <a:pt x="145161" y="431038"/>
                </a:lnTo>
                <a:lnTo>
                  <a:pt x="134264" y="430784"/>
                </a:lnTo>
                <a:lnTo>
                  <a:pt x="124079" y="430098"/>
                </a:lnTo>
                <a:lnTo>
                  <a:pt x="115519" y="428764"/>
                </a:lnTo>
                <a:lnTo>
                  <a:pt x="115519" y="93497"/>
                </a:lnTo>
                <a:lnTo>
                  <a:pt x="124383" y="91821"/>
                </a:lnTo>
                <a:lnTo>
                  <a:pt x="136080" y="90347"/>
                </a:lnTo>
                <a:lnTo>
                  <a:pt x="150622" y="89319"/>
                </a:lnTo>
                <a:lnTo>
                  <a:pt x="168008" y="88925"/>
                </a:lnTo>
                <a:lnTo>
                  <a:pt x="214909" y="93319"/>
                </a:lnTo>
                <a:lnTo>
                  <a:pt x="254800" y="106616"/>
                </a:lnTo>
                <a:lnTo>
                  <a:pt x="286994" y="128943"/>
                </a:lnTo>
                <a:lnTo>
                  <a:pt x="310832" y="160464"/>
                </a:lnTo>
                <a:lnTo>
                  <a:pt x="325628" y="201320"/>
                </a:lnTo>
                <a:lnTo>
                  <a:pt x="330708" y="251650"/>
                </a:lnTo>
                <a:lnTo>
                  <a:pt x="330708" y="31546"/>
                </a:lnTo>
                <a:lnTo>
                  <a:pt x="326796" y="29171"/>
                </a:lnTo>
                <a:lnTo>
                  <a:pt x="279666" y="12636"/>
                </a:lnTo>
                <a:lnTo>
                  <a:pt x="223278" y="3073"/>
                </a:lnTo>
                <a:lnTo>
                  <a:pt x="155841" y="0"/>
                </a:lnTo>
                <a:lnTo>
                  <a:pt x="113093" y="711"/>
                </a:lnTo>
                <a:lnTo>
                  <a:pt x="72212" y="2857"/>
                </a:lnTo>
                <a:lnTo>
                  <a:pt x="34175" y="6413"/>
                </a:lnTo>
                <a:lnTo>
                  <a:pt x="0" y="11417"/>
                </a:lnTo>
                <a:lnTo>
                  <a:pt x="0" y="513930"/>
                </a:lnTo>
                <a:lnTo>
                  <a:pt x="23964" y="516724"/>
                </a:lnTo>
                <a:lnTo>
                  <a:pt x="53784" y="519150"/>
                </a:lnTo>
                <a:lnTo>
                  <a:pt x="89585" y="520877"/>
                </a:lnTo>
                <a:lnTo>
                  <a:pt x="131495" y="521525"/>
                </a:lnTo>
                <a:lnTo>
                  <a:pt x="189534" y="518960"/>
                </a:lnTo>
                <a:lnTo>
                  <a:pt x="242811" y="511162"/>
                </a:lnTo>
                <a:lnTo>
                  <a:pt x="290804" y="498043"/>
                </a:lnTo>
                <a:lnTo>
                  <a:pt x="332955" y="479501"/>
                </a:lnTo>
                <a:lnTo>
                  <a:pt x="368719" y="455409"/>
                </a:lnTo>
                <a:lnTo>
                  <a:pt x="396163" y="427177"/>
                </a:lnTo>
                <a:lnTo>
                  <a:pt x="419430" y="392518"/>
                </a:lnTo>
                <a:lnTo>
                  <a:pt x="437400" y="351231"/>
                </a:lnTo>
                <a:lnTo>
                  <a:pt x="448983" y="303085"/>
                </a:lnTo>
                <a:lnTo>
                  <a:pt x="453097" y="247865"/>
                </a:lnTo>
                <a:close/>
              </a:path>
              <a:path w="1618615" h="525145">
                <a:moveTo>
                  <a:pt x="849947" y="516191"/>
                </a:moveTo>
                <a:lnTo>
                  <a:pt x="848817" y="491236"/>
                </a:lnTo>
                <a:lnTo>
                  <a:pt x="847839" y="463080"/>
                </a:lnTo>
                <a:lnTo>
                  <a:pt x="847140" y="431634"/>
                </a:lnTo>
                <a:lnTo>
                  <a:pt x="846874" y="396836"/>
                </a:lnTo>
                <a:lnTo>
                  <a:pt x="846874" y="144449"/>
                </a:lnTo>
                <a:lnTo>
                  <a:pt x="731316" y="144449"/>
                </a:lnTo>
                <a:lnTo>
                  <a:pt x="731316" y="365671"/>
                </a:lnTo>
                <a:lnTo>
                  <a:pt x="731037" y="372808"/>
                </a:lnTo>
                <a:lnTo>
                  <a:pt x="707301" y="417766"/>
                </a:lnTo>
                <a:lnTo>
                  <a:pt x="668985" y="431076"/>
                </a:lnTo>
                <a:lnTo>
                  <a:pt x="642531" y="425119"/>
                </a:lnTo>
                <a:lnTo>
                  <a:pt x="624332" y="407974"/>
                </a:lnTo>
                <a:lnTo>
                  <a:pt x="613841" y="380707"/>
                </a:lnTo>
                <a:lnTo>
                  <a:pt x="610463" y="344398"/>
                </a:lnTo>
                <a:lnTo>
                  <a:pt x="610463" y="144449"/>
                </a:lnTo>
                <a:lnTo>
                  <a:pt x="494906" y="144449"/>
                </a:lnTo>
                <a:lnTo>
                  <a:pt x="494906" y="362623"/>
                </a:lnTo>
                <a:lnTo>
                  <a:pt x="501205" y="423557"/>
                </a:lnTo>
                <a:lnTo>
                  <a:pt x="519036" y="469226"/>
                </a:lnTo>
                <a:lnTo>
                  <a:pt x="546785" y="500634"/>
                </a:lnTo>
                <a:lnTo>
                  <a:pt x="582866" y="518756"/>
                </a:lnTo>
                <a:lnTo>
                  <a:pt x="625652" y="524573"/>
                </a:lnTo>
                <a:lnTo>
                  <a:pt x="670026" y="518274"/>
                </a:lnTo>
                <a:lnTo>
                  <a:pt x="703491" y="502716"/>
                </a:lnTo>
                <a:lnTo>
                  <a:pt x="727113" y="482879"/>
                </a:lnTo>
                <a:lnTo>
                  <a:pt x="741972" y="463753"/>
                </a:lnTo>
                <a:lnTo>
                  <a:pt x="744245" y="463753"/>
                </a:lnTo>
                <a:lnTo>
                  <a:pt x="749592" y="516191"/>
                </a:lnTo>
                <a:lnTo>
                  <a:pt x="849947" y="516191"/>
                </a:lnTo>
                <a:close/>
              </a:path>
              <a:path w="1618615" h="525145">
                <a:moveTo>
                  <a:pt x="1277759" y="326885"/>
                </a:moveTo>
                <a:lnTo>
                  <a:pt x="1273225" y="280898"/>
                </a:lnTo>
                <a:lnTo>
                  <a:pt x="1260055" y="239864"/>
                </a:lnTo>
                <a:lnTo>
                  <a:pt x="1247533" y="218948"/>
                </a:lnTo>
                <a:lnTo>
                  <a:pt x="1238923" y="204558"/>
                </a:lnTo>
                <a:lnTo>
                  <a:pt x="1210513" y="175742"/>
                </a:lnTo>
                <a:lnTo>
                  <a:pt x="1175537" y="154216"/>
                </a:lnTo>
                <a:lnTo>
                  <a:pt x="1157643" y="148323"/>
                </a:lnTo>
                <a:lnTo>
                  <a:pt x="1157643" y="329958"/>
                </a:lnTo>
                <a:lnTo>
                  <a:pt x="1152537" y="375627"/>
                </a:lnTo>
                <a:lnTo>
                  <a:pt x="1137881" y="410908"/>
                </a:lnTo>
                <a:lnTo>
                  <a:pt x="1114679" y="433641"/>
                </a:lnTo>
                <a:lnTo>
                  <a:pt x="1083906" y="441693"/>
                </a:lnTo>
                <a:lnTo>
                  <a:pt x="1083157" y="441693"/>
                </a:lnTo>
                <a:lnTo>
                  <a:pt x="1050861" y="433222"/>
                </a:lnTo>
                <a:lnTo>
                  <a:pt x="1027264" y="409867"/>
                </a:lnTo>
                <a:lnTo>
                  <a:pt x="1012799" y="374675"/>
                </a:lnTo>
                <a:lnTo>
                  <a:pt x="1007884" y="330708"/>
                </a:lnTo>
                <a:lnTo>
                  <a:pt x="1012063" y="289839"/>
                </a:lnTo>
                <a:lnTo>
                  <a:pt x="1025372" y="254025"/>
                </a:lnTo>
                <a:lnTo>
                  <a:pt x="1048931" y="228612"/>
                </a:lnTo>
                <a:lnTo>
                  <a:pt x="1083906" y="218948"/>
                </a:lnTo>
                <a:lnTo>
                  <a:pt x="1117574" y="228612"/>
                </a:lnTo>
                <a:lnTo>
                  <a:pt x="1140447" y="253936"/>
                </a:lnTo>
                <a:lnTo>
                  <a:pt x="1153502" y="289521"/>
                </a:lnTo>
                <a:lnTo>
                  <a:pt x="1157643" y="329958"/>
                </a:lnTo>
                <a:lnTo>
                  <a:pt x="1157643" y="148323"/>
                </a:lnTo>
                <a:lnTo>
                  <a:pt x="1134618" y="140728"/>
                </a:lnTo>
                <a:lnTo>
                  <a:pt x="1088466" y="136067"/>
                </a:lnTo>
                <a:lnTo>
                  <a:pt x="1039609" y="140665"/>
                </a:lnTo>
                <a:lnTo>
                  <a:pt x="996442" y="154089"/>
                </a:lnTo>
                <a:lnTo>
                  <a:pt x="959637" y="175755"/>
                </a:lnTo>
                <a:lnTo>
                  <a:pt x="929855" y="205041"/>
                </a:lnTo>
                <a:lnTo>
                  <a:pt x="907770" y="241401"/>
                </a:lnTo>
                <a:lnTo>
                  <a:pt x="894016" y="284226"/>
                </a:lnTo>
                <a:lnTo>
                  <a:pt x="889292" y="332955"/>
                </a:lnTo>
                <a:lnTo>
                  <a:pt x="894245" y="381393"/>
                </a:lnTo>
                <a:lnTo>
                  <a:pt x="908405" y="423481"/>
                </a:lnTo>
                <a:lnTo>
                  <a:pt x="930757" y="458812"/>
                </a:lnTo>
                <a:lnTo>
                  <a:pt x="960272" y="486994"/>
                </a:lnTo>
                <a:lnTo>
                  <a:pt x="995946" y="507606"/>
                </a:lnTo>
                <a:lnTo>
                  <a:pt x="1036726" y="520268"/>
                </a:lnTo>
                <a:lnTo>
                  <a:pt x="1081608" y="524573"/>
                </a:lnTo>
                <a:lnTo>
                  <a:pt x="1082382" y="524573"/>
                </a:lnTo>
                <a:lnTo>
                  <a:pt x="1124318" y="520725"/>
                </a:lnTo>
                <a:lnTo>
                  <a:pt x="1164336" y="509054"/>
                </a:lnTo>
                <a:lnTo>
                  <a:pt x="1200772" y="489381"/>
                </a:lnTo>
                <a:lnTo>
                  <a:pt x="1231976" y="461518"/>
                </a:lnTo>
                <a:lnTo>
                  <a:pt x="1245285" y="441693"/>
                </a:lnTo>
                <a:lnTo>
                  <a:pt x="1256322" y="425259"/>
                </a:lnTo>
                <a:lnTo>
                  <a:pt x="1272120" y="380453"/>
                </a:lnTo>
                <a:lnTo>
                  <a:pt x="1277759" y="326885"/>
                </a:lnTo>
                <a:close/>
              </a:path>
              <a:path w="1618615" h="525145">
                <a:moveTo>
                  <a:pt x="1618411" y="150533"/>
                </a:moveTo>
                <a:lnTo>
                  <a:pt x="1598650" y="144424"/>
                </a:lnTo>
                <a:lnTo>
                  <a:pt x="1576603" y="139865"/>
                </a:lnTo>
                <a:lnTo>
                  <a:pt x="1553413" y="137033"/>
                </a:lnTo>
                <a:lnTo>
                  <a:pt x="1530223" y="136055"/>
                </a:lnTo>
                <a:lnTo>
                  <a:pt x="1474876" y="141300"/>
                </a:lnTo>
                <a:lnTo>
                  <a:pt x="1427530" y="156235"/>
                </a:lnTo>
                <a:lnTo>
                  <a:pt x="1388376" y="179628"/>
                </a:lnTo>
                <a:lnTo>
                  <a:pt x="1357591" y="210299"/>
                </a:lnTo>
                <a:lnTo>
                  <a:pt x="1335366" y="247015"/>
                </a:lnTo>
                <a:lnTo>
                  <a:pt x="1321904" y="288569"/>
                </a:lnTo>
                <a:lnTo>
                  <a:pt x="1317371" y="333743"/>
                </a:lnTo>
                <a:lnTo>
                  <a:pt x="1321968" y="381190"/>
                </a:lnTo>
                <a:lnTo>
                  <a:pt x="1335392" y="422783"/>
                </a:lnTo>
                <a:lnTo>
                  <a:pt x="1357045" y="458012"/>
                </a:lnTo>
                <a:lnTo>
                  <a:pt x="1386344" y="486346"/>
                </a:lnTo>
                <a:lnTo>
                  <a:pt x="1422704" y="507225"/>
                </a:lnTo>
                <a:lnTo>
                  <a:pt x="1465541" y="520153"/>
                </a:lnTo>
                <a:lnTo>
                  <a:pt x="1514259" y="524573"/>
                </a:lnTo>
                <a:lnTo>
                  <a:pt x="1546148" y="523240"/>
                </a:lnTo>
                <a:lnTo>
                  <a:pt x="1599057" y="514007"/>
                </a:lnTo>
                <a:lnTo>
                  <a:pt x="1603971" y="421932"/>
                </a:lnTo>
                <a:lnTo>
                  <a:pt x="1590116" y="427050"/>
                </a:lnTo>
                <a:lnTo>
                  <a:pt x="1574609" y="430872"/>
                </a:lnTo>
                <a:lnTo>
                  <a:pt x="1557248" y="433273"/>
                </a:lnTo>
                <a:lnTo>
                  <a:pt x="1537817" y="434098"/>
                </a:lnTo>
                <a:lnTo>
                  <a:pt x="1498168" y="427329"/>
                </a:lnTo>
                <a:lnTo>
                  <a:pt x="1465795" y="407301"/>
                </a:lnTo>
                <a:lnTo>
                  <a:pt x="1443951" y="374446"/>
                </a:lnTo>
                <a:lnTo>
                  <a:pt x="1435938" y="329196"/>
                </a:lnTo>
                <a:lnTo>
                  <a:pt x="1442631" y="287261"/>
                </a:lnTo>
                <a:lnTo>
                  <a:pt x="1462659" y="254304"/>
                </a:lnTo>
                <a:lnTo>
                  <a:pt x="1494218" y="232752"/>
                </a:lnTo>
                <a:lnTo>
                  <a:pt x="1535557" y="225031"/>
                </a:lnTo>
                <a:lnTo>
                  <a:pt x="1556562" y="225958"/>
                </a:lnTo>
                <a:lnTo>
                  <a:pt x="1574152" y="228447"/>
                </a:lnTo>
                <a:lnTo>
                  <a:pt x="1588592" y="232092"/>
                </a:lnTo>
                <a:lnTo>
                  <a:pt x="1600174" y="236435"/>
                </a:lnTo>
                <a:lnTo>
                  <a:pt x="1618411" y="150533"/>
                </a:lnTo>
                <a:close/>
              </a:path>
            </a:pathLst>
          </a:custGeom>
          <a:solidFill>
            <a:srgbClr val="FEB620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0" name="object 3">
            <a:extLst>
              <a:ext uri="{FF2B5EF4-FFF2-40B4-BE49-F238E27FC236}">
                <a16:creationId xmlns:a16="http://schemas.microsoft.com/office/drawing/2014/main" id="{0CC6034A-DD52-8E48-9897-290B72B140F4}"/>
              </a:ext>
            </a:extLst>
          </p:cNvPr>
          <p:cNvSpPr/>
          <p:nvPr userDrawn="1"/>
        </p:nvSpPr>
        <p:spPr>
          <a:xfrm>
            <a:off x="10894187" y="6275735"/>
            <a:ext cx="235676" cy="292649"/>
          </a:xfrm>
          <a:custGeom>
            <a:avLst/>
            <a:gdLst/>
            <a:ahLst/>
            <a:cxnLst/>
            <a:rect l="l" t="t" r="r" b="b"/>
            <a:pathLst>
              <a:path w="388619" h="482600">
                <a:moveTo>
                  <a:pt x="388176" y="0"/>
                </a:moveTo>
                <a:lnTo>
                  <a:pt x="281090" y="0"/>
                </a:lnTo>
                <a:lnTo>
                  <a:pt x="281090" y="273331"/>
                </a:lnTo>
                <a:lnTo>
                  <a:pt x="275370" y="327965"/>
                </a:lnTo>
                <a:lnTo>
                  <a:pt x="258558" y="366414"/>
                </a:lnTo>
                <a:lnTo>
                  <a:pt x="231178" y="389143"/>
                </a:lnTo>
                <a:lnTo>
                  <a:pt x="193753" y="396616"/>
                </a:lnTo>
                <a:lnTo>
                  <a:pt x="157139" y="388845"/>
                </a:lnTo>
                <a:lnTo>
                  <a:pt x="130175" y="365621"/>
                </a:lnTo>
                <a:lnTo>
                  <a:pt x="113516" y="327072"/>
                </a:lnTo>
                <a:lnTo>
                  <a:pt x="107818" y="273331"/>
                </a:lnTo>
                <a:lnTo>
                  <a:pt x="107818" y="0"/>
                </a:lnTo>
                <a:lnTo>
                  <a:pt x="0" y="0"/>
                </a:lnTo>
                <a:lnTo>
                  <a:pt x="0" y="264892"/>
                </a:lnTo>
                <a:lnTo>
                  <a:pt x="4253" y="324651"/>
                </a:lnTo>
                <a:lnTo>
                  <a:pt x="16765" y="374300"/>
                </a:lnTo>
                <a:lnTo>
                  <a:pt x="37165" y="414172"/>
                </a:lnTo>
                <a:lnTo>
                  <a:pt x="65082" y="444602"/>
                </a:lnTo>
                <a:lnTo>
                  <a:pt x="100145" y="465925"/>
                </a:lnTo>
                <a:lnTo>
                  <a:pt x="141983" y="478473"/>
                </a:lnTo>
                <a:lnTo>
                  <a:pt x="190224" y="482582"/>
                </a:lnTo>
                <a:lnTo>
                  <a:pt x="240229" y="478290"/>
                </a:lnTo>
                <a:lnTo>
                  <a:pt x="283689" y="465335"/>
                </a:lnTo>
                <a:lnTo>
                  <a:pt x="320188" y="443592"/>
                </a:lnTo>
                <a:lnTo>
                  <a:pt x="349304" y="412939"/>
                </a:lnTo>
                <a:lnTo>
                  <a:pt x="370620" y="373254"/>
                </a:lnTo>
                <a:lnTo>
                  <a:pt x="383717" y="324414"/>
                </a:lnTo>
                <a:lnTo>
                  <a:pt x="388176" y="266295"/>
                </a:lnTo>
                <a:lnTo>
                  <a:pt x="38817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grpSp>
        <p:nvGrpSpPr>
          <p:cNvPr id="11" name="object 4">
            <a:extLst>
              <a:ext uri="{FF2B5EF4-FFF2-40B4-BE49-F238E27FC236}">
                <a16:creationId xmlns:a16="http://schemas.microsoft.com/office/drawing/2014/main" id="{7BD220CA-C2E0-5A47-8906-8C7F54BE497A}"/>
              </a:ext>
            </a:extLst>
          </p:cNvPr>
          <p:cNvGrpSpPr/>
          <p:nvPr userDrawn="1"/>
        </p:nvGrpSpPr>
        <p:grpSpPr>
          <a:xfrm>
            <a:off x="11162243" y="6205961"/>
            <a:ext cx="270334" cy="362731"/>
            <a:chOff x="18406074" y="10234089"/>
            <a:chExt cx="445770" cy="598170"/>
          </a:xfrm>
        </p:grpSpPr>
        <p:sp>
          <p:nvSpPr>
            <p:cNvPr id="12" name="object 5">
              <a:extLst>
                <a:ext uri="{FF2B5EF4-FFF2-40B4-BE49-F238E27FC236}">
                  <a16:creationId xmlns:a16="http://schemas.microsoft.com/office/drawing/2014/main" id="{3EEFAA1B-FD72-8948-B11C-1214D7203673}"/>
                </a:ext>
              </a:extLst>
            </p:cNvPr>
            <p:cNvSpPr/>
            <p:nvPr/>
          </p:nvSpPr>
          <p:spPr>
            <a:xfrm>
              <a:off x="18406074" y="10341395"/>
              <a:ext cx="376555" cy="490855"/>
            </a:xfrm>
            <a:custGeom>
              <a:avLst/>
              <a:gdLst/>
              <a:ahLst/>
              <a:cxnLst/>
              <a:rect l="l" t="t" r="r" b="b"/>
              <a:pathLst>
                <a:path w="376555" h="490854">
                  <a:moveTo>
                    <a:pt x="259248" y="0"/>
                  </a:moveTo>
                  <a:lnTo>
                    <a:pt x="212510" y="3315"/>
                  </a:lnTo>
                  <a:lnTo>
                    <a:pt x="168577" y="13160"/>
                  </a:lnTo>
                  <a:lnTo>
                    <a:pt x="128168" y="29385"/>
                  </a:lnTo>
                  <a:lnTo>
                    <a:pt x="92002" y="51838"/>
                  </a:lnTo>
                  <a:lnTo>
                    <a:pt x="60799" y="80367"/>
                  </a:lnTo>
                  <a:lnTo>
                    <a:pt x="35278" y="114822"/>
                  </a:lnTo>
                  <a:lnTo>
                    <a:pt x="16158" y="155053"/>
                  </a:lnTo>
                  <a:lnTo>
                    <a:pt x="4159" y="200906"/>
                  </a:lnTo>
                  <a:lnTo>
                    <a:pt x="0" y="252233"/>
                  </a:lnTo>
                  <a:lnTo>
                    <a:pt x="3124" y="296015"/>
                  </a:lnTo>
                  <a:lnTo>
                    <a:pt x="12470" y="336820"/>
                  </a:lnTo>
                  <a:lnTo>
                    <a:pt x="27997" y="374067"/>
                  </a:lnTo>
                  <a:lnTo>
                    <a:pt x="49665" y="407177"/>
                  </a:lnTo>
                  <a:lnTo>
                    <a:pt x="77432" y="435568"/>
                  </a:lnTo>
                  <a:lnTo>
                    <a:pt x="111258" y="458660"/>
                  </a:lnTo>
                  <a:lnTo>
                    <a:pt x="151102" y="475874"/>
                  </a:lnTo>
                  <a:lnTo>
                    <a:pt x="196924" y="486627"/>
                  </a:lnTo>
                  <a:lnTo>
                    <a:pt x="248683" y="490341"/>
                  </a:lnTo>
                  <a:lnTo>
                    <a:pt x="289323" y="488424"/>
                  </a:lnTo>
                  <a:lnTo>
                    <a:pt x="323888" y="483469"/>
                  </a:lnTo>
                  <a:lnTo>
                    <a:pt x="351317" y="476664"/>
                  </a:lnTo>
                  <a:lnTo>
                    <a:pt x="370554" y="469200"/>
                  </a:lnTo>
                  <a:lnTo>
                    <a:pt x="354355" y="385380"/>
                  </a:lnTo>
                  <a:lnTo>
                    <a:pt x="336022" y="391357"/>
                  </a:lnTo>
                  <a:lnTo>
                    <a:pt x="313851" y="396278"/>
                  </a:lnTo>
                  <a:lnTo>
                    <a:pt x="289564" y="399616"/>
                  </a:lnTo>
                  <a:lnTo>
                    <a:pt x="264881" y="400846"/>
                  </a:lnTo>
                  <a:lnTo>
                    <a:pt x="212272" y="393858"/>
                  </a:lnTo>
                  <a:lnTo>
                    <a:pt x="169943" y="373685"/>
                  </a:lnTo>
                  <a:lnTo>
                    <a:pt x="138704" y="341508"/>
                  </a:lnTo>
                  <a:lnTo>
                    <a:pt x="119366" y="298511"/>
                  </a:lnTo>
                  <a:lnTo>
                    <a:pt x="112740" y="245877"/>
                  </a:lnTo>
                  <a:lnTo>
                    <a:pt x="120306" y="188964"/>
                  </a:lnTo>
                  <a:lnTo>
                    <a:pt x="141498" y="144930"/>
                  </a:lnTo>
                  <a:lnTo>
                    <a:pt x="174052" y="113642"/>
                  </a:lnTo>
                  <a:lnTo>
                    <a:pt x="215707" y="94967"/>
                  </a:lnTo>
                  <a:lnTo>
                    <a:pt x="264201" y="88772"/>
                  </a:lnTo>
                  <a:lnTo>
                    <a:pt x="291260" y="90238"/>
                  </a:lnTo>
                  <a:lnTo>
                    <a:pt x="315349" y="94150"/>
                  </a:lnTo>
                  <a:lnTo>
                    <a:pt x="336402" y="99775"/>
                  </a:lnTo>
                  <a:lnTo>
                    <a:pt x="354355" y="106384"/>
                  </a:lnTo>
                  <a:lnTo>
                    <a:pt x="376208" y="21161"/>
                  </a:lnTo>
                  <a:lnTo>
                    <a:pt x="357739" y="13689"/>
                  </a:lnTo>
                  <a:lnTo>
                    <a:pt x="331471" y="6878"/>
                  </a:lnTo>
                  <a:lnTo>
                    <a:pt x="298332" y="1917"/>
                  </a:lnTo>
                  <a:lnTo>
                    <a:pt x="259248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pic>
          <p:nvPicPr>
            <p:cNvPr id="13" name="object 6">
              <a:extLst>
                <a:ext uri="{FF2B5EF4-FFF2-40B4-BE49-F238E27FC236}">
                  <a16:creationId xmlns:a16="http://schemas.microsoft.com/office/drawing/2014/main" id="{BB5CD9E5-7F69-C841-A5B1-50577B59E9E7}"/>
                </a:ext>
              </a:extLst>
            </p:cNvPr>
            <p:cNvPicPr/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739823" y="10234089"/>
              <a:ext cx="111954" cy="111944"/>
            </a:xfrm>
            <a:prstGeom prst="rect">
              <a:avLst/>
            </a:prstGeom>
          </p:spPr>
        </p:pic>
      </p:grpSp>
      <p:sp>
        <p:nvSpPr>
          <p:cNvPr id="24" name="Título 10">
            <a:extLst>
              <a:ext uri="{FF2B5EF4-FFF2-40B4-BE49-F238E27FC236}">
                <a16:creationId xmlns:a16="http://schemas.microsoft.com/office/drawing/2014/main" id="{75575793-1590-984B-826D-AE96768BEF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7098" y="4611110"/>
            <a:ext cx="2473821" cy="1007834"/>
          </a:xfrm>
        </p:spPr>
        <p:txBody>
          <a:bodyPr/>
          <a:lstStyle>
            <a:lvl1pPr>
              <a:defRPr sz="3275">
                <a:solidFill>
                  <a:srgbClr val="307DE1"/>
                </a:solidFill>
              </a:defRPr>
            </a:lvl1pPr>
          </a:lstStyle>
          <a:p>
            <a:r>
              <a:rPr lang="es-ES" dirty="0"/>
              <a:t>LOREM IPSUM</a:t>
            </a:r>
            <a:endParaRPr lang="es-CL" dirty="0"/>
          </a:p>
        </p:txBody>
      </p:sp>
      <p:sp>
        <p:nvSpPr>
          <p:cNvPr id="25" name="Marcador de texto 12">
            <a:extLst>
              <a:ext uri="{FF2B5EF4-FFF2-40B4-BE49-F238E27FC236}">
                <a16:creationId xmlns:a16="http://schemas.microsoft.com/office/drawing/2014/main" id="{4254857D-F0DA-8444-B7FA-5DA33208F49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69551" y="4622579"/>
            <a:ext cx="8410401" cy="1394054"/>
          </a:xfrm>
        </p:spPr>
        <p:txBody>
          <a:bodyPr/>
          <a:lstStyle>
            <a:lvl1pPr marL="7701" marR="3081">
              <a:lnSpc>
                <a:spcPct val="124400"/>
              </a:lnSpc>
              <a:spcBef>
                <a:spcPts val="61"/>
              </a:spcBef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12700" marR="5080">
              <a:lnSpc>
                <a:spcPct val="124400"/>
              </a:lnSpc>
              <a:spcBef>
                <a:spcPts val="100"/>
              </a:spcBef>
            </a:pPr>
            <a:r>
              <a:rPr lang="es-CL" sz="1092" spc="-6" dirty="0">
                <a:latin typeface="Montserrat-Light"/>
                <a:cs typeface="Montserrat-Light"/>
              </a:rPr>
              <a:t>Ut</a:t>
            </a:r>
            <a:r>
              <a:rPr lang="es-CL" sz="1092" spc="-15" dirty="0">
                <a:latin typeface="Montserrat-Light"/>
                <a:cs typeface="Montserrat-Light"/>
              </a:rPr>
              <a:t> </a:t>
            </a:r>
            <a:r>
              <a:rPr lang="es-CL" sz="1092" spc="-3" dirty="0">
                <a:latin typeface="Montserrat-Light"/>
                <a:cs typeface="Montserrat-Light"/>
              </a:rPr>
              <a:t>wisi</a:t>
            </a:r>
            <a:r>
              <a:rPr lang="es-CL" sz="1092" spc="-15" dirty="0">
                <a:latin typeface="Montserrat-Light"/>
                <a:cs typeface="Montserrat-Light"/>
              </a:rPr>
              <a:t> </a:t>
            </a:r>
            <a:r>
              <a:rPr lang="es-CL" sz="1092" spc="-6" dirty="0">
                <a:latin typeface="Montserrat-Light"/>
                <a:cs typeface="Montserrat-Light"/>
              </a:rPr>
              <a:t>enim</a:t>
            </a:r>
            <a:r>
              <a:rPr lang="es-CL" sz="1092" spc="-15" dirty="0">
                <a:latin typeface="Montserrat-Light"/>
                <a:cs typeface="Montserrat-Light"/>
              </a:rPr>
              <a:t> </a:t>
            </a:r>
            <a:r>
              <a:rPr lang="es-CL" sz="1092" spc="-6" dirty="0">
                <a:latin typeface="Montserrat-Light"/>
                <a:cs typeface="Montserrat-Light"/>
              </a:rPr>
              <a:t>ad</a:t>
            </a:r>
            <a:r>
              <a:rPr lang="es-CL" sz="1092" spc="-12" dirty="0">
                <a:latin typeface="Montserrat-Light"/>
                <a:cs typeface="Montserrat-Light"/>
              </a:rPr>
              <a:t> </a:t>
            </a:r>
            <a:r>
              <a:rPr lang="es-CL" sz="1092" spc="-6" dirty="0">
                <a:latin typeface="Montserrat-Light"/>
                <a:cs typeface="Montserrat-Light"/>
              </a:rPr>
              <a:t>minim</a:t>
            </a:r>
            <a:r>
              <a:rPr lang="es-CL" sz="1092" spc="-15" dirty="0">
                <a:latin typeface="Montserrat-Light"/>
                <a:cs typeface="Montserrat-Light"/>
              </a:rPr>
              <a:t> </a:t>
            </a:r>
            <a:r>
              <a:rPr lang="es-CL" sz="1092" spc="-6" dirty="0">
                <a:latin typeface="Montserrat-Light"/>
                <a:cs typeface="Montserrat-Light"/>
              </a:rPr>
              <a:t>mannt</a:t>
            </a:r>
            <a:r>
              <a:rPr lang="es-CL" sz="1092" spc="-15" dirty="0">
                <a:latin typeface="Montserrat-Light"/>
                <a:cs typeface="Montserrat-Light"/>
              </a:rPr>
              <a:t> </a:t>
            </a:r>
            <a:r>
              <a:rPr lang="es-CL" sz="1092" spc="-9" dirty="0">
                <a:latin typeface="Montserrat-Light"/>
                <a:cs typeface="Montserrat-Light"/>
              </a:rPr>
              <a:t>veniam,</a:t>
            </a:r>
            <a:r>
              <a:rPr lang="es-CL" sz="1092" spc="-12" dirty="0">
                <a:latin typeface="Montserrat-Light"/>
                <a:cs typeface="Montserrat-Light"/>
              </a:rPr>
              <a:t> </a:t>
            </a:r>
            <a:r>
              <a:rPr lang="es-CL" sz="1092" spc="-3" dirty="0">
                <a:latin typeface="Montserrat-Light"/>
                <a:cs typeface="Montserrat-Light"/>
              </a:rPr>
              <a:t>quis</a:t>
            </a:r>
            <a:r>
              <a:rPr lang="es-CL" sz="1092" spc="-15" dirty="0">
                <a:latin typeface="Montserrat-Light"/>
                <a:cs typeface="Montserrat-Light"/>
              </a:rPr>
              <a:t> </a:t>
            </a:r>
            <a:r>
              <a:rPr lang="es-CL" sz="1092" spc="-6" dirty="0">
                <a:latin typeface="Montserrat-Light"/>
                <a:cs typeface="Montserrat-Light"/>
              </a:rPr>
              <a:t>nostrud</a:t>
            </a:r>
            <a:r>
              <a:rPr lang="es-CL" sz="1092" spc="-15" dirty="0">
                <a:latin typeface="Montserrat-Light"/>
                <a:cs typeface="Montserrat-Light"/>
              </a:rPr>
              <a:t> exerci </a:t>
            </a:r>
            <a:r>
              <a:rPr lang="es-CL" sz="1092" spc="-3" dirty="0">
                <a:latin typeface="Montserrat-Light"/>
                <a:cs typeface="Montserrat-Light"/>
              </a:rPr>
              <a:t>tation</a:t>
            </a:r>
            <a:r>
              <a:rPr lang="es-CL" sz="1092" spc="-12" dirty="0">
                <a:latin typeface="Montserrat-Light"/>
                <a:cs typeface="Montserrat-Light"/>
              </a:rPr>
              <a:t> </a:t>
            </a:r>
            <a:r>
              <a:rPr lang="es-CL" sz="1092" spc="-3" dirty="0">
                <a:latin typeface="Montserrat-Light"/>
                <a:cs typeface="Montserrat-Light"/>
              </a:rPr>
              <a:t>ulla</a:t>
            </a:r>
            <a:r>
              <a:rPr lang="es-CL" sz="1092" spc="-15" dirty="0">
                <a:latin typeface="Montserrat-Light"/>
                <a:cs typeface="Montserrat-Light"/>
              </a:rPr>
              <a:t> </a:t>
            </a:r>
            <a:r>
              <a:rPr lang="es-CL" sz="1092" spc="-9" dirty="0">
                <a:latin typeface="Montserrat-Light"/>
                <a:cs typeface="Montserrat-Light"/>
              </a:rPr>
              <a:t>mcorper</a:t>
            </a:r>
            <a:r>
              <a:rPr lang="es-CL" sz="1092" spc="-15" dirty="0">
                <a:latin typeface="Montserrat-Light"/>
                <a:cs typeface="Montserrat-Light"/>
              </a:rPr>
              <a:t> </a:t>
            </a:r>
            <a:r>
              <a:rPr lang="es-CL" sz="1092" spc="-3" dirty="0">
                <a:latin typeface="Montserrat-Light"/>
                <a:cs typeface="Montserrat-Light"/>
              </a:rPr>
              <a:t>suscipit</a:t>
            </a:r>
            <a:r>
              <a:rPr lang="es-CL" sz="1092" spc="-15" dirty="0">
                <a:latin typeface="Montserrat-Light"/>
                <a:cs typeface="Montserrat-Light"/>
              </a:rPr>
              <a:t> </a:t>
            </a:r>
            <a:r>
              <a:rPr lang="es-CL" sz="1092" spc="-6" dirty="0">
                <a:latin typeface="Montserrat-Light"/>
                <a:cs typeface="Montserrat-Light"/>
              </a:rPr>
              <a:t>lobor- </a:t>
            </a:r>
            <a:r>
              <a:rPr lang="es-CL" sz="1092" spc="-309" dirty="0">
                <a:latin typeface="Montserrat-Light"/>
                <a:cs typeface="Montserrat-Light"/>
              </a:rPr>
              <a:t> </a:t>
            </a:r>
            <a:r>
              <a:rPr lang="es-CL" sz="1092" spc="-3" dirty="0">
                <a:latin typeface="Montserrat-Light"/>
                <a:cs typeface="Montserrat-Light"/>
              </a:rPr>
              <a:t>tis nisl </a:t>
            </a:r>
            <a:r>
              <a:rPr lang="es-CL" sz="1092" spc="-6" dirty="0">
                <a:latin typeface="Montserrat-Light"/>
                <a:cs typeface="Montserrat-Light"/>
              </a:rPr>
              <a:t>ut</a:t>
            </a:r>
            <a:r>
              <a:rPr lang="es-CL" sz="1092" spc="-3" dirty="0">
                <a:latin typeface="Montserrat-Light"/>
                <a:cs typeface="Montserrat-Light"/>
              </a:rPr>
              <a:t> aliquip </a:t>
            </a:r>
            <a:r>
              <a:rPr lang="es-CL" sz="1092" spc="-15" dirty="0">
                <a:latin typeface="Montserrat-Light"/>
                <a:cs typeface="Montserrat-Light"/>
              </a:rPr>
              <a:t>ex</a:t>
            </a:r>
            <a:r>
              <a:rPr lang="es-CL" sz="1092" spc="-3" dirty="0">
                <a:latin typeface="Montserrat-Light"/>
                <a:cs typeface="Montserrat-Light"/>
              </a:rPr>
              <a:t> </a:t>
            </a:r>
            <a:r>
              <a:rPr lang="es-CL" sz="1092" spc="-15" dirty="0">
                <a:latin typeface="Montserrat-Light"/>
                <a:cs typeface="Montserrat-Light"/>
              </a:rPr>
              <a:t>ea</a:t>
            </a:r>
            <a:r>
              <a:rPr lang="es-CL" sz="1092" spc="-3" dirty="0">
                <a:latin typeface="Montserrat-Light"/>
                <a:cs typeface="Montserrat-Light"/>
              </a:rPr>
              <a:t> </a:t>
            </a:r>
            <a:r>
              <a:rPr lang="es-CL" sz="1092" spc="-9" dirty="0">
                <a:latin typeface="Montserrat-Light"/>
                <a:cs typeface="Montserrat-Light"/>
              </a:rPr>
              <a:t>commo</a:t>
            </a:r>
            <a:r>
              <a:rPr lang="es-CL" sz="1092" spc="-3" dirty="0">
                <a:latin typeface="Montserrat-Light"/>
                <a:cs typeface="Montserrat-Light"/>
              </a:rPr>
              <a:t> </a:t>
            </a:r>
            <a:r>
              <a:rPr lang="es-CL" sz="1092" spc="-6" dirty="0">
                <a:latin typeface="Montserrat-Light"/>
                <a:cs typeface="Montserrat-Light"/>
              </a:rPr>
              <a:t>do</a:t>
            </a:r>
            <a:r>
              <a:rPr lang="es-CL" sz="1092" spc="-3" dirty="0">
                <a:latin typeface="Montserrat-Light"/>
                <a:cs typeface="Montserrat-Light"/>
              </a:rPr>
              <a:t> </a:t>
            </a:r>
            <a:r>
              <a:rPr lang="es-CL" sz="1092" spc="-6" dirty="0">
                <a:latin typeface="Montserrat-Light"/>
                <a:cs typeface="Montserrat-Light"/>
              </a:rPr>
              <a:t>conse</a:t>
            </a:r>
            <a:r>
              <a:rPr lang="es-CL" sz="1092" dirty="0">
                <a:latin typeface="Montserrat-Light"/>
                <a:cs typeface="Montserrat-Light"/>
              </a:rPr>
              <a:t> </a:t>
            </a:r>
            <a:r>
              <a:rPr lang="es-CL" sz="1092" spc="-3" dirty="0">
                <a:latin typeface="Montserrat-Light"/>
                <a:cs typeface="Montserrat-Light"/>
              </a:rPr>
              <a:t>quat. </a:t>
            </a:r>
            <a:r>
              <a:rPr lang="es-CL" sz="1092" spc="-6" dirty="0">
                <a:latin typeface="Montserrat-Light"/>
                <a:cs typeface="Montserrat-Light"/>
              </a:rPr>
              <a:t>Duis</a:t>
            </a:r>
            <a:r>
              <a:rPr lang="es-CL" sz="1092" spc="-3" dirty="0">
                <a:latin typeface="Montserrat-Light"/>
                <a:cs typeface="Montserrat-Light"/>
              </a:rPr>
              <a:t> joss </a:t>
            </a:r>
            <a:r>
              <a:rPr lang="es-CL" sz="1092" spc="-9" dirty="0">
                <a:latin typeface="Montserrat-Light"/>
                <a:cs typeface="Montserrat-Light"/>
              </a:rPr>
              <a:t>autem</a:t>
            </a:r>
            <a:r>
              <a:rPr lang="es-CL" sz="1092" spc="-3" dirty="0">
                <a:latin typeface="Montserrat-Light"/>
                <a:cs typeface="Montserrat-Light"/>
              </a:rPr>
              <a:t> </a:t>
            </a:r>
            <a:r>
              <a:rPr lang="es-CL" sz="1092" spc="-12" dirty="0">
                <a:latin typeface="Montserrat-Light"/>
                <a:cs typeface="Montserrat-Light"/>
              </a:rPr>
              <a:t>vel</a:t>
            </a:r>
            <a:r>
              <a:rPr lang="es-CL" sz="1092" spc="-3" dirty="0">
                <a:latin typeface="Montserrat-Light"/>
                <a:cs typeface="Montserrat-Light"/>
              </a:rPr>
              <a:t> </a:t>
            </a:r>
            <a:r>
              <a:rPr lang="es-CL" sz="1092" spc="-6" dirty="0">
                <a:latin typeface="Montserrat-Light"/>
                <a:cs typeface="Montserrat-Light"/>
              </a:rPr>
              <a:t>eum.</a:t>
            </a:r>
            <a:endParaRPr lang="es-CL" sz="1092" dirty="0">
              <a:latin typeface="Montserrat-Light"/>
              <a:cs typeface="Montserrat-Light"/>
            </a:endParaRPr>
          </a:p>
        </p:txBody>
      </p:sp>
      <p:pic>
        <p:nvPicPr>
          <p:cNvPr id="4" name="Imagen 3" descr="Pantalla de computadora con una imagen de una persona&#10;&#10;Descripción generada automáticamente con confianza media">
            <a:extLst>
              <a:ext uri="{FF2B5EF4-FFF2-40B4-BE49-F238E27FC236}">
                <a16:creationId xmlns:a16="http://schemas.microsoft.com/office/drawing/2014/main" id="{69DC1521-6CC4-2F4F-8F1C-C55F27E3CA0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152" y="-20078"/>
            <a:ext cx="12199152" cy="43875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32890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2">
            <a:extLst>
              <a:ext uri="{FF2B5EF4-FFF2-40B4-BE49-F238E27FC236}">
                <a16:creationId xmlns:a16="http://schemas.microsoft.com/office/drawing/2014/main" id="{0C89410C-D654-794A-B743-CC26E1D1AF2D}"/>
              </a:ext>
            </a:extLst>
          </p:cNvPr>
          <p:cNvSpPr/>
          <p:nvPr userDrawn="1"/>
        </p:nvSpPr>
        <p:spPr>
          <a:xfrm>
            <a:off x="9844651" y="6248963"/>
            <a:ext cx="981598" cy="318448"/>
          </a:xfrm>
          <a:custGeom>
            <a:avLst/>
            <a:gdLst/>
            <a:ahLst/>
            <a:cxnLst/>
            <a:rect l="l" t="t" r="r" b="b"/>
            <a:pathLst>
              <a:path w="1618615" h="525145">
                <a:moveTo>
                  <a:pt x="453097" y="247865"/>
                </a:moveTo>
                <a:lnTo>
                  <a:pt x="449186" y="196367"/>
                </a:lnTo>
                <a:lnTo>
                  <a:pt x="437921" y="151307"/>
                </a:lnTo>
                <a:lnTo>
                  <a:pt x="419925" y="112522"/>
                </a:lnTo>
                <a:lnTo>
                  <a:pt x="395884" y="79870"/>
                </a:lnTo>
                <a:lnTo>
                  <a:pt x="366445" y="53213"/>
                </a:lnTo>
                <a:lnTo>
                  <a:pt x="330708" y="31546"/>
                </a:lnTo>
                <a:lnTo>
                  <a:pt x="330708" y="251650"/>
                </a:lnTo>
                <a:lnTo>
                  <a:pt x="325094" y="307492"/>
                </a:lnTo>
                <a:lnTo>
                  <a:pt x="308851" y="352729"/>
                </a:lnTo>
                <a:lnTo>
                  <a:pt x="282892" y="387540"/>
                </a:lnTo>
                <a:lnTo>
                  <a:pt x="248132" y="412089"/>
                </a:lnTo>
                <a:lnTo>
                  <a:pt x="205486" y="426542"/>
                </a:lnTo>
                <a:lnTo>
                  <a:pt x="155841" y="431076"/>
                </a:lnTo>
                <a:lnTo>
                  <a:pt x="145161" y="431038"/>
                </a:lnTo>
                <a:lnTo>
                  <a:pt x="134264" y="430784"/>
                </a:lnTo>
                <a:lnTo>
                  <a:pt x="124079" y="430098"/>
                </a:lnTo>
                <a:lnTo>
                  <a:pt x="115519" y="428764"/>
                </a:lnTo>
                <a:lnTo>
                  <a:pt x="115519" y="93497"/>
                </a:lnTo>
                <a:lnTo>
                  <a:pt x="124383" y="91821"/>
                </a:lnTo>
                <a:lnTo>
                  <a:pt x="136080" y="90347"/>
                </a:lnTo>
                <a:lnTo>
                  <a:pt x="150622" y="89319"/>
                </a:lnTo>
                <a:lnTo>
                  <a:pt x="168008" y="88925"/>
                </a:lnTo>
                <a:lnTo>
                  <a:pt x="214909" y="93319"/>
                </a:lnTo>
                <a:lnTo>
                  <a:pt x="254800" y="106616"/>
                </a:lnTo>
                <a:lnTo>
                  <a:pt x="286994" y="128943"/>
                </a:lnTo>
                <a:lnTo>
                  <a:pt x="310832" y="160464"/>
                </a:lnTo>
                <a:lnTo>
                  <a:pt x="325628" y="201320"/>
                </a:lnTo>
                <a:lnTo>
                  <a:pt x="330708" y="251650"/>
                </a:lnTo>
                <a:lnTo>
                  <a:pt x="330708" y="31546"/>
                </a:lnTo>
                <a:lnTo>
                  <a:pt x="326796" y="29171"/>
                </a:lnTo>
                <a:lnTo>
                  <a:pt x="279666" y="12636"/>
                </a:lnTo>
                <a:lnTo>
                  <a:pt x="223278" y="3073"/>
                </a:lnTo>
                <a:lnTo>
                  <a:pt x="155841" y="0"/>
                </a:lnTo>
                <a:lnTo>
                  <a:pt x="113093" y="711"/>
                </a:lnTo>
                <a:lnTo>
                  <a:pt x="72212" y="2857"/>
                </a:lnTo>
                <a:lnTo>
                  <a:pt x="34175" y="6413"/>
                </a:lnTo>
                <a:lnTo>
                  <a:pt x="0" y="11417"/>
                </a:lnTo>
                <a:lnTo>
                  <a:pt x="0" y="513930"/>
                </a:lnTo>
                <a:lnTo>
                  <a:pt x="23964" y="516724"/>
                </a:lnTo>
                <a:lnTo>
                  <a:pt x="53784" y="519150"/>
                </a:lnTo>
                <a:lnTo>
                  <a:pt x="89585" y="520877"/>
                </a:lnTo>
                <a:lnTo>
                  <a:pt x="131495" y="521525"/>
                </a:lnTo>
                <a:lnTo>
                  <a:pt x="189534" y="518960"/>
                </a:lnTo>
                <a:lnTo>
                  <a:pt x="242811" y="511162"/>
                </a:lnTo>
                <a:lnTo>
                  <a:pt x="290804" y="498043"/>
                </a:lnTo>
                <a:lnTo>
                  <a:pt x="332955" y="479501"/>
                </a:lnTo>
                <a:lnTo>
                  <a:pt x="368719" y="455409"/>
                </a:lnTo>
                <a:lnTo>
                  <a:pt x="396163" y="427177"/>
                </a:lnTo>
                <a:lnTo>
                  <a:pt x="419430" y="392518"/>
                </a:lnTo>
                <a:lnTo>
                  <a:pt x="437400" y="351231"/>
                </a:lnTo>
                <a:lnTo>
                  <a:pt x="448983" y="303085"/>
                </a:lnTo>
                <a:lnTo>
                  <a:pt x="453097" y="247865"/>
                </a:lnTo>
                <a:close/>
              </a:path>
              <a:path w="1618615" h="525145">
                <a:moveTo>
                  <a:pt x="849947" y="516191"/>
                </a:moveTo>
                <a:lnTo>
                  <a:pt x="848817" y="491236"/>
                </a:lnTo>
                <a:lnTo>
                  <a:pt x="847839" y="463080"/>
                </a:lnTo>
                <a:lnTo>
                  <a:pt x="847140" y="431634"/>
                </a:lnTo>
                <a:lnTo>
                  <a:pt x="846874" y="396836"/>
                </a:lnTo>
                <a:lnTo>
                  <a:pt x="846874" y="144449"/>
                </a:lnTo>
                <a:lnTo>
                  <a:pt x="731316" y="144449"/>
                </a:lnTo>
                <a:lnTo>
                  <a:pt x="731316" y="365671"/>
                </a:lnTo>
                <a:lnTo>
                  <a:pt x="731037" y="372808"/>
                </a:lnTo>
                <a:lnTo>
                  <a:pt x="707301" y="417766"/>
                </a:lnTo>
                <a:lnTo>
                  <a:pt x="668985" y="431076"/>
                </a:lnTo>
                <a:lnTo>
                  <a:pt x="642531" y="425119"/>
                </a:lnTo>
                <a:lnTo>
                  <a:pt x="624332" y="407974"/>
                </a:lnTo>
                <a:lnTo>
                  <a:pt x="613841" y="380707"/>
                </a:lnTo>
                <a:lnTo>
                  <a:pt x="610463" y="344398"/>
                </a:lnTo>
                <a:lnTo>
                  <a:pt x="610463" y="144449"/>
                </a:lnTo>
                <a:lnTo>
                  <a:pt x="494906" y="144449"/>
                </a:lnTo>
                <a:lnTo>
                  <a:pt x="494906" y="362623"/>
                </a:lnTo>
                <a:lnTo>
                  <a:pt x="501205" y="423557"/>
                </a:lnTo>
                <a:lnTo>
                  <a:pt x="519036" y="469226"/>
                </a:lnTo>
                <a:lnTo>
                  <a:pt x="546785" y="500634"/>
                </a:lnTo>
                <a:lnTo>
                  <a:pt x="582866" y="518756"/>
                </a:lnTo>
                <a:lnTo>
                  <a:pt x="625652" y="524573"/>
                </a:lnTo>
                <a:lnTo>
                  <a:pt x="670026" y="518274"/>
                </a:lnTo>
                <a:lnTo>
                  <a:pt x="703491" y="502716"/>
                </a:lnTo>
                <a:lnTo>
                  <a:pt x="727113" y="482879"/>
                </a:lnTo>
                <a:lnTo>
                  <a:pt x="741972" y="463753"/>
                </a:lnTo>
                <a:lnTo>
                  <a:pt x="744245" y="463753"/>
                </a:lnTo>
                <a:lnTo>
                  <a:pt x="749592" y="516191"/>
                </a:lnTo>
                <a:lnTo>
                  <a:pt x="849947" y="516191"/>
                </a:lnTo>
                <a:close/>
              </a:path>
              <a:path w="1618615" h="525145">
                <a:moveTo>
                  <a:pt x="1277759" y="326885"/>
                </a:moveTo>
                <a:lnTo>
                  <a:pt x="1273225" y="280898"/>
                </a:lnTo>
                <a:lnTo>
                  <a:pt x="1260055" y="239864"/>
                </a:lnTo>
                <a:lnTo>
                  <a:pt x="1247533" y="218948"/>
                </a:lnTo>
                <a:lnTo>
                  <a:pt x="1238923" y="204558"/>
                </a:lnTo>
                <a:lnTo>
                  <a:pt x="1210513" y="175742"/>
                </a:lnTo>
                <a:lnTo>
                  <a:pt x="1175537" y="154216"/>
                </a:lnTo>
                <a:lnTo>
                  <a:pt x="1157643" y="148323"/>
                </a:lnTo>
                <a:lnTo>
                  <a:pt x="1157643" y="329958"/>
                </a:lnTo>
                <a:lnTo>
                  <a:pt x="1152537" y="375627"/>
                </a:lnTo>
                <a:lnTo>
                  <a:pt x="1137881" y="410908"/>
                </a:lnTo>
                <a:lnTo>
                  <a:pt x="1114679" y="433641"/>
                </a:lnTo>
                <a:lnTo>
                  <a:pt x="1083906" y="441693"/>
                </a:lnTo>
                <a:lnTo>
                  <a:pt x="1083157" y="441693"/>
                </a:lnTo>
                <a:lnTo>
                  <a:pt x="1050861" y="433222"/>
                </a:lnTo>
                <a:lnTo>
                  <a:pt x="1027264" y="409867"/>
                </a:lnTo>
                <a:lnTo>
                  <a:pt x="1012799" y="374675"/>
                </a:lnTo>
                <a:lnTo>
                  <a:pt x="1007884" y="330708"/>
                </a:lnTo>
                <a:lnTo>
                  <a:pt x="1012063" y="289839"/>
                </a:lnTo>
                <a:lnTo>
                  <a:pt x="1025372" y="254025"/>
                </a:lnTo>
                <a:lnTo>
                  <a:pt x="1048931" y="228612"/>
                </a:lnTo>
                <a:lnTo>
                  <a:pt x="1083906" y="218948"/>
                </a:lnTo>
                <a:lnTo>
                  <a:pt x="1117574" y="228612"/>
                </a:lnTo>
                <a:lnTo>
                  <a:pt x="1140447" y="253936"/>
                </a:lnTo>
                <a:lnTo>
                  <a:pt x="1153502" y="289521"/>
                </a:lnTo>
                <a:lnTo>
                  <a:pt x="1157643" y="329958"/>
                </a:lnTo>
                <a:lnTo>
                  <a:pt x="1157643" y="148323"/>
                </a:lnTo>
                <a:lnTo>
                  <a:pt x="1134618" y="140728"/>
                </a:lnTo>
                <a:lnTo>
                  <a:pt x="1088466" y="136067"/>
                </a:lnTo>
                <a:lnTo>
                  <a:pt x="1039609" y="140665"/>
                </a:lnTo>
                <a:lnTo>
                  <a:pt x="996442" y="154089"/>
                </a:lnTo>
                <a:lnTo>
                  <a:pt x="959637" y="175755"/>
                </a:lnTo>
                <a:lnTo>
                  <a:pt x="929855" y="205041"/>
                </a:lnTo>
                <a:lnTo>
                  <a:pt x="907770" y="241401"/>
                </a:lnTo>
                <a:lnTo>
                  <a:pt x="894016" y="284226"/>
                </a:lnTo>
                <a:lnTo>
                  <a:pt x="889292" y="332955"/>
                </a:lnTo>
                <a:lnTo>
                  <a:pt x="894245" y="381393"/>
                </a:lnTo>
                <a:lnTo>
                  <a:pt x="908405" y="423481"/>
                </a:lnTo>
                <a:lnTo>
                  <a:pt x="930757" y="458812"/>
                </a:lnTo>
                <a:lnTo>
                  <a:pt x="960272" y="486994"/>
                </a:lnTo>
                <a:lnTo>
                  <a:pt x="995946" y="507606"/>
                </a:lnTo>
                <a:lnTo>
                  <a:pt x="1036726" y="520268"/>
                </a:lnTo>
                <a:lnTo>
                  <a:pt x="1081608" y="524573"/>
                </a:lnTo>
                <a:lnTo>
                  <a:pt x="1082382" y="524573"/>
                </a:lnTo>
                <a:lnTo>
                  <a:pt x="1124318" y="520725"/>
                </a:lnTo>
                <a:lnTo>
                  <a:pt x="1164336" y="509054"/>
                </a:lnTo>
                <a:lnTo>
                  <a:pt x="1200772" y="489381"/>
                </a:lnTo>
                <a:lnTo>
                  <a:pt x="1231976" y="461518"/>
                </a:lnTo>
                <a:lnTo>
                  <a:pt x="1245285" y="441693"/>
                </a:lnTo>
                <a:lnTo>
                  <a:pt x="1256322" y="425259"/>
                </a:lnTo>
                <a:lnTo>
                  <a:pt x="1272120" y="380453"/>
                </a:lnTo>
                <a:lnTo>
                  <a:pt x="1277759" y="326885"/>
                </a:lnTo>
                <a:close/>
              </a:path>
              <a:path w="1618615" h="525145">
                <a:moveTo>
                  <a:pt x="1618411" y="150533"/>
                </a:moveTo>
                <a:lnTo>
                  <a:pt x="1598650" y="144424"/>
                </a:lnTo>
                <a:lnTo>
                  <a:pt x="1576603" y="139865"/>
                </a:lnTo>
                <a:lnTo>
                  <a:pt x="1553413" y="137033"/>
                </a:lnTo>
                <a:lnTo>
                  <a:pt x="1530223" y="136055"/>
                </a:lnTo>
                <a:lnTo>
                  <a:pt x="1474876" y="141300"/>
                </a:lnTo>
                <a:lnTo>
                  <a:pt x="1427530" y="156235"/>
                </a:lnTo>
                <a:lnTo>
                  <a:pt x="1388376" y="179628"/>
                </a:lnTo>
                <a:lnTo>
                  <a:pt x="1357591" y="210299"/>
                </a:lnTo>
                <a:lnTo>
                  <a:pt x="1335366" y="247015"/>
                </a:lnTo>
                <a:lnTo>
                  <a:pt x="1321904" y="288569"/>
                </a:lnTo>
                <a:lnTo>
                  <a:pt x="1317371" y="333743"/>
                </a:lnTo>
                <a:lnTo>
                  <a:pt x="1321968" y="381190"/>
                </a:lnTo>
                <a:lnTo>
                  <a:pt x="1335392" y="422783"/>
                </a:lnTo>
                <a:lnTo>
                  <a:pt x="1357045" y="458012"/>
                </a:lnTo>
                <a:lnTo>
                  <a:pt x="1386344" y="486346"/>
                </a:lnTo>
                <a:lnTo>
                  <a:pt x="1422704" y="507225"/>
                </a:lnTo>
                <a:lnTo>
                  <a:pt x="1465541" y="520153"/>
                </a:lnTo>
                <a:lnTo>
                  <a:pt x="1514259" y="524573"/>
                </a:lnTo>
                <a:lnTo>
                  <a:pt x="1546148" y="523240"/>
                </a:lnTo>
                <a:lnTo>
                  <a:pt x="1599057" y="514007"/>
                </a:lnTo>
                <a:lnTo>
                  <a:pt x="1603971" y="421932"/>
                </a:lnTo>
                <a:lnTo>
                  <a:pt x="1590116" y="427050"/>
                </a:lnTo>
                <a:lnTo>
                  <a:pt x="1574609" y="430872"/>
                </a:lnTo>
                <a:lnTo>
                  <a:pt x="1557248" y="433273"/>
                </a:lnTo>
                <a:lnTo>
                  <a:pt x="1537817" y="434098"/>
                </a:lnTo>
                <a:lnTo>
                  <a:pt x="1498168" y="427329"/>
                </a:lnTo>
                <a:lnTo>
                  <a:pt x="1465795" y="407301"/>
                </a:lnTo>
                <a:lnTo>
                  <a:pt x="1443951" y="374446"/>
                </a:lnTo>
                <a:lnTo>
                  <a:pt x="1435938" y="329196"/>
                </a:lnTo>
                <a:lnTo>
                  <a:pt x="1442631" y="287261"/>
                </a:lnTo>
                <a:lnTo>
                  <a:pt x="1462659" y="254304"/>
                </a:lnTo>
                <a:lnTo>
                  <a:pt x="1494218" y="232752"/>
                </a:lnTo>
                <a:lnTo>
                  <a:pt x="1535557" y="225031"/>
                </a:lnTo>
                <a:lnTo>
                  <a:pt x="1556562" y="225958"/>
                </a:lnTo>
                <a:lnTo>
                  <a:pt x="1574152" y="228447"/>
                </a:lnTo>
                <a:lnTo>
                  <a:pt x="1588592" y="232092"/>
                </a:lnTo>
                <a:lnTo>
                  <a:pt x="1600174" y="236435"/>
                </a:lnTo>
                <a:lnTo>
                  <a:pt x="1618411" y="150533"/>
                </a:lnTo>
                <a:close/>
              </a:path>
            </a:pathLst>
          </a:custGeom>
          <a:solidFill>
            <a:srgbClr val="FEB620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9" name="object 3">
            <a:extLst>
              <a:ext uri="{FF2B5EF4-FFF2-40B4-BE49-F238E27FC236}">
                <a16:creationId xmlns:a16="http://schemas.microsoft.com/office/drawing/2014/main" id="{6E10E463-16FC-A04F-8895-A33E951E1FE3}"/>
              </a:ext>
            </a:extLst>
          </p:cNvPr>
          <p:cNvSpPr/>
          <p:nvPr userDrawn="1"/>
        </p:nvSpPr>
        <p:spPr>
          <a:xfrm>
            <a:off x="10894187" y="6275735"/>
            <a:ext cx="235676" cy="292649"/>
          </a:xfrm>
          <a:custGeom>
            <a:avLst/>
            <a:gdLst/>
            <a:ahLst/>
            <a:cxnLst/>
            <a:rect l="l" t="t" r="r" b="b"/>
            <a:pathLst>
              <a:path w="388619" h="482600">
                <a:moveTo>
                  <a:pt x="388176" y="0"/>
                </a:moveTo>
                <a:lnTo>
                  <a:pt x="281090" y="0"/>
                </a:lnTo>
                <a:lnTo>
                  <a:pt x="281090" y="273331"/>
                </a:lnTo>
                <a:lnTo>
                  <a:pt x="275370" y="327965"/>
                </a:lnTo>
                <a:lnTo>
                  <a:pt x="258558" y="366414"/>
                </a:lnTo>
                <a:lnTo>
                  <a:pt x="231178" y="389143"/>
                </a:lnTo>
                <a:lnTo>
                  <a:pt x="193753" y="396616"/>
                </a:lnTo>
                <a:lnTo>
                  <a:pt x="157139" y="388845"/>
                </a:lnTo>
                <a:lnTo>
                  <a:pt x="130175" y="365621"/>
                </a:lnTo>
                <a:lnTo>
                  <a:pt x="113516" y="327072"/>
                </a:lnTo>
                <a:lnTo>
                  <a:pt x="107818" y="273331"/>
                </a:lnTo>
                <a:lnTo>
                  <a:pt x="107818" y="0"/>
                </a:lnTo>
                <a:lnTo>
                  <a:pt x="0" y="0"/>
                </a:lnTo>
                <a:lnTo>
                  <a:pt x="0" y="264892"/>
                </a:lnTo>
                <a:lnTo>
                  <a:pt x="4253" y="324651"/>
                </a:lnTo>
                <a:lnTo>
                  <a:pt x="16765" y="374300"/>
                </a:lnTo>
                <a:lnTo>
                  <a:pt x="37165" y="414172"/>
                </a:lnTo>
                <a:lnTo>
                  <a:pt x="65082" y="444602"/>
                </a:lnTo>
                <a:lnTo>
                  <a:pt x="100145" y="465925"/>
                </a:lnTo>
                <a:lnTo>
                  <a:pt x="141983" y="478473"/>
                </a:lnTo>
                <a:lnTo>
                  <a:pt x="190224" y="482582"/>
                </a:lnTo>
                <a:lnTo>
                  <a:pt x="240229" y="478290"/>
                </a:lnTo>
                <a:lnTo>
                  <a:pt x="283689" y="465335"/>
                </a:lnTo>
                <a:lnTo>
                  <a:pt x="320188" y="443592"/>
                </a:lnTo>
                <a:lnTo>
                  <a:pt x="349304" y="412939"/>
                </a:lnTo>
                <a:lnTo>
                  <a:pt x="370620" y="373254"/>
                </a:lnTo>
                <a:lnTo>
                  <a:pt x="383717" y="324414"/>
                </a:lnTo>
                <a:lnTo>
                  <a:pt x="388176" y="266295"/>
                </a:lnTo>
                <a:lnTo>
                  <a:pt x="38817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grpSp>
        <p:nvGrpSpPr>
          <p:cNvPr id="10" name="object 4">
            <a:extLst>
              <a:ext uri="{FF2B5EF4-FFF2-40B4-BE49-F238E27FC236}">
                <a16:creationId xmlns:a16="http://schemas.microsoft.com/office/drawing/2014/main" id="{CB2E15CD-9B47-1B49-A416-D36AF2D23F43}"/>
              </a:ext>
            </a:extLst>
          </p:cNvPr>
          <p:cNvGrpSpPr/>
          <p:nvPr userDrawn="1"/>
        </p:nvGrpSpPr>
        <p:grpSpPr>
          <a:xfrm>
            <a:off x="11162243" y="6205961"/>
            <a:ext cx="270334" cy="362731"/>
            <a:chOff x="18406074" y="10234089"/>
            <a:chExt cx="445770" cy="598170"/>
          </a:xfrm>
        </p:grpSpPr>
        <p:sp>
          <p:nvSpPr>
            <p:cNvPr id="11" name="object 5">
              <a:extLst>
                <a:ext uri="{FF2B5EF4-FFF2-40B4-BE49-F238E27FC236}">
                  <a16:creationId xmlns:a16="http://schemas.microsoft.com/office/drawing/2014/main" id="{7D58CCB2-276A-B94F-A6F2-85B6DBA8E1C5}"/>
                </a:ext>
              </a:extLst>
            </p:cNvPr>
            <p:cNvSpPr/>
            <p:nvPr/>
          </p:nvSpPr>
          <p:spPr>
            <a:xfrm>
              <a:off x="18406074" y="10341395"/>
              <a:ext cx="376555" cy="490855"/>
            </a:xfrm>
            <a:custGeom>
              <a:avLst/>
              <a:gdLst/>
              <a:ahLst/>
              <a:cxnLst/>
              <a:rect l="l" t="t" r="r" b="b"/>
              <a:pathLst>
                <a:path w="376555" h="490854">
                  <a:moveTo>
                    <a:pt x="259248" y="0"/>
                  </a:moveTo>
                  <a:lnTo>
                    <a:pt x="212510" y="3315"/>
                  </a:lnTo>
                  <a:lnTo>
                    <a:pt x="168577" y="13160"/>
                  </a:lnTo>
                  <a:lnTo>
                    <a:pt x="128168" y="29385"/>
                  </a:lnTo>
                  <a:lnTo>
                    <a:pt x="92002" y="51838"/>
                  </a:lnTo>
                  <a:lnTo>
                    <a:pt x="60799" y="80367"/>
                  </a:lnTo>
                  <a:lnTo>
                    <a:pt x="35278" y="114822"/>
                  </a:lnTo>
                  <a:lnTo>
                    <a:pt x="16158" y="155053"/>
                  </a:lnTo>
                  <a:lnTo>
                    <a:pt x="4159" y="200906"/>
                  </a:lnTo>
                  <a:lnTo>
                    <a:pt x="0" y="252233"/>
                  </a:lnTo>
                  <a:lnTo>
                    <a:pt x="3124" y="296015"/>
                  </a:lnTo>
                  <a:lnTo>
                    <a:pt x="12470" y="336820"/>
                  </a:lnTo>
                  <a:lnTo>
                    <a:pt x="27997" y="374067"/>
                  </a:lnTo>
                  <a:lnTo>
                    <a:pt x="49665" y="407177"/>
                  </a:lnTo>
                  <a:lnTo>
                    <a:pt x="77432" y="435568"/>
                  </a:lnTo>
                  <a:lnTo>
                    <a:pt x="111258" y="458660"/>
                  </a:lnTo>
                  <a:lnTo>
                    <a:pt x="151102" y="475874"/>
                  </a:lnTo>
                  <a:lnTo>
                    <a:pt x="196924" y="486627"/>
                  </a:lnTo>
                  <a:lnTo>
                    <a:pt x="248683" y="490341"/>
                  </a:lnTo>
                  <a:lnTo>
                    <a:pt x="289323" y="488424"/>
                  </a:lnTo>
                  <a:lnTo>
                    <a:pt x="323888" y="483469"/>
                  </a:lnTo>
                  <a:lnTo>
                    <a:pt x="351317" y="476664"/>
                  </a:lnTo>
                  <a:lnTo>
                    <a:pt x="370554" y="469200"/>
                  </a:lnTo>
                  <a:lnTo>
                    <a:pt x="354355" y="385380"/>
                  </a:lnTo>
                  <a:lnTo>
                    <a:pt x="336022" y="391357"/>
                  </a:lnTo>
                  <a:lnTo>
                    <a:pt x="313851" y="396278"/>
                  </a:lnTo>
                  <a:lnTo>
                    <a:pt x="289564" y="399616"/>
                  </a:lnTo>
                  <a:lnTo>
                    <a:pt x="264881" y="400846"/>
                  </a:lnTo>
                  <a:lnTo>
                    <a:pt x="212272" y="393858"/>
                  </a:lnTo>
                  <a:lnTo>
                    <a:pt x="169943" y="373685"/>
                  </a:lnTo>
                  <a:lnTo>
                    <a:pt x="138704" y="341508"/>
                  </a:lnTo>
                  <a:lnTo>
                    <a:pt x="119366" y="298511"/>
                  </a:lnTo>
                  <a:lnTo>
                    <a:pt x="112740" y="245877"/>
                  </a:lnTo>
                  <a:lnTo>
                    <a:pt x="120306" y="188964"/>
                  </a:lnTo>
                  <a:lnTo>
                    <a:pt x="141498" y="144930"/>
                  </a:lnTo>
                  <a:lnTo>
                    <a:pt x="174052" y="113642"/>
                  </a:lnTo>
                  <a:lnTo>
                    <a:pt x="215707" y="94967"/>
                  </a:lnTo>
                  <a:lnTo>
                    <a:pt x="264201" y="88772"/>
                  </a:lnTo>
                  <a:lnTo>
                    <a:pt x="291260" y="90238"/>
                  </a:lnTo>
                  <a:lnTo>
                    <a:pt x="315349" y="94150"/>
                  </a:lnTo>
                  <a:lnTo>
                    <a:pt x="336402" y="99775"/>
                  </a:lnTo>
                  <a:lnTo>
                    <a:pt x="354355" y="106384"/>
                  </a:lnTo>
                  <a:lnTo>
                    <a:pt x="376208" y="21161"/>
                  </a:lnTo>
                  <a:lnTo>
                    <a:pt x="357739" y="13689"/>
                  </a:lnTo>
                  <a:lnTo>
                    <a:pt x="331471" y="6878"/>
                  </a:lnTo>
                  <a:lnTo>
                    <a:pt x="298332" y="1917"/>
                  </a:lnTo>
                  <a:lnTo>
                    <a:pt x="259248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pic>
          <p:nvPicPr>
            <p:cNvPr id="12" name="object 6">
              <a:extLst>
                <a:ext uri="{FF2B5EF4-FFF2-40B4-BE49-F238E27FC236}">
                  <a16:creationId xmlns:a16="http://schemas.microsoft.com/office/drawing/2014/main" id="{34CB5623-3939-5B45-8061-A108CDB7930E}"/>
                </a:ext>
              </a:extLst>
            </p:cNvPr>
            <p:cNvPicPr/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739823" y="10234089"/>
              <a:ext cx="111954" cy="111944"/>
            </a:xfrm>
            <a:prstGeom prst="rect">
              <a:avLst/>
            </a:prstGeom>
          </p:spPr>
        </p:pic>
      </p:grpSp>
      <p:sp>
        <p:nvSpPr>
          <p:cNvPr id="24" name="Rectángulo 23">
            <a:extLst>
              <a:ext uri="{FF2B5EF4-FFF2-40B4-BE49-F238E27FC236}">
                <a16:creationId xmlns:a16="http://schemas.microsoft.com/office/drawing/2014/main" id="{922AFCB8-239F-634B-87EE-F69D82B39952}"/>
              </a:ext>
            </a:extLst>
          </p:cNvPr>
          <p:cNvSpPr/>
          <p:nvPr userDrawn="1"/>
        </p:nvSpPr>
        <p:spPr>
          <a:xfrm>
            <a:off x="0" y="649190"/>
            <a:ext cx="2999864" cy="708486"/>
          </a:xfrm>
          <a:prstGeom prst="rect">
            <a:avLst/>
          </a:prstGeom>
          <a:solidFill>
            <a:srgbClr val="307D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092">
              <a:solidFill>
                <a:srgbClr val="BE0849"/>
              </a:solidFill>
            </a:endParaRPr>
          </a:p>
        </p:txBody>
      </p:sp>
      <p:sp>
        <p:nvSpPr>
          <p:cNvPr id="13" name="Marcador de texto 26">
            <a:extLst>
              <a:ext uri="{FF2B5EF4-FFF2-40B4-BE49-F238E27FC236}">
                <a16:creationId xmlns:a16="http://schemas.microsoft.com/office/drawing/2014/main" id="{C735A75F-04C1-E245-870F-36052B4A6F5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8123" y="1480286"/>
            <a:ext cx="2513108" cy="1007834"/>
          </a:xfrm>
        </p:spPr>
        <p:txBody>
          <a:bodyPr/>
          <a:lstStyle>
            <a:lvl1pPr algn="r">
              <a:defRPr sz="3275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LOREM IPSUM</a:t>
            </a:r>
            <a:endParaRPr lang="es-CL" dirty="0"/>
          </a:p>
        </p:txBody>
      </p:sp>
      <p:sp>
        <p:nvSpPr>
          <p:cNvPr id="14" name="Marcador de texto 2">
            <a:extLst>
              <a:ext uri="{FF2B5EF4-FFF2-40B4-BE49-F238E27FC236}">
                <a16:creationId xmlns:a16="http://schemas.microsoft.com/office/drawing/2014/main" id="{FB129E85-41B9-6C42-8912-75A91FB92D8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5837" y="748951"/>
            <a:ext cx="2495394" cy="503917"/>
          </a:xfrm>
        </p:spPr>
        <p:txBody>
          <a:bodyPr/>
          <a:lstStyle>
            <a:lvl1pPr algn="r">
              <a:defRPr sz="3275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TITULO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9656135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345020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7" imgW="421" imgH="423" progId="TCLayout.ActiveDocument.1">
                  <p:embed/>
                </p:oleObj>
              </mc:Choice>
              <mc:Fallback>
                <p:oleObj name="Diapositiva de think-cell" r:id="rId7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416307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0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" TargetMode="Externa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/>
          <p:cNvSpPr txBox="1"/>
          <p:nvPr/>
        </p:nvSpPr>
        <p:spPr>
          <a:xfrm>
            <a:off x="6927740" y="5231102"/>
            <a:ext cx="1939169" cy="4656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268582">
              <a:tabLst>
                <a:tab pos="2772461" algn="l"/>
              </a:tabLst>
            </a:pPr>
            <a:r>
              <a:rPr lang="es-CL" sz="2426" dirty="0" err="1">
                <a:solidFill>
                  <a:schemeClr val="bg1"/>
                </a:solidFill>
              </a:rPr>
              <a:t>Git</a:t>
            </a:r>
            <a:r>
              <a:rPr lang="es-CL" sz="2426" dirty="0">
                <a:solidFill>
                  <a:schemeClr val="bg1"/>
                </a:solidFill>
              </a:rPr>
              <a:t> y GitHub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0366972-EA21-27C5-B41C-D8D9B5DBFA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86238" y="5595272"/>
            <a:ext cx="1855248" cy="7730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Imagen 9" descr="Icono&#10;&#10;Descripción generada automáticamente">
            <a:extLst>
              <a:ext uri="{FF2B5EF4-FFF2-40B4-BE49-F238E27FC236}">
                <a16:creationId xmlns:a16="http://schemas.microsoft.com/office/drawing/2014/main" id="{2BB2CB35-4C1E-85DC-FC12-C6BBEDE52B5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3387" y="5095530"/>
            <a:ext cx="2840342" cy="1538643"/>
          </a:xfrm>
          <a:prstGeom prst="rect">
            <a:avLst/>
          </a:prstGeom>
        </p:spPr>
      </p:pic>
      <p:sp>
        <p:nvSpPr>
          <p:cNvPr id="12" name="CuadroTexto 11">
            <a:extLst>
              <a:ext uri="{FF2B5EF4-FFF2-40B4-BE49-F238E27FC236}">
                <a16:creationId xmlns:a16="http://schemas.microsoft.com/office/drawing/2014/main" id="{2EE41731-6B5E-0754-3913-0B1362E5EED6}"/>
              </a:ext>
            </a:extLst>
          </p:cNvPr>
          <p:cNvSpPr txBox="1"/>
          <p:nvPr/>
        </p:nvSpPr>
        <p:spPr>
          <a:xfrm>
            <a:off x="340120" y="5232377"/>
            <a:ext cx="7150610" cy="5232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s-CL" sz="2800" b="1" kern="0" dirty="0">
                <a:latin typeface="Arial"/>
                <a:cs typeface="Arial"/>
              </a:rPr>
              <a:t>INSTRUCTIVO </a:t>
            </a:r>
          </a:p>
        </p:txBody>
      </p:sp>
    </p:spTree>
    <p:extLst>
      <p:ext uri="{BB962C8B-B14F-4D97-AF65-F5344CB8AC3E}">
        <p14:creationId xmlns:p14="http://schemas.microsoft.com/office/powerpoint/2010/main" val="40383598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uadroTexto 5">
            <a:extLst>
              <a:ext uri="{FF2B5EF4-FFF2-40B4-BE49-F238E27FC236}">
                <a16:creationId xmlns:a16="http://schemas.microsoft.com/office/drawing/2014/main" id="{8B9FD3BC-D2FD-4810-A98C-640F134B8F89}"/>
              </a:ext>
            </a:extLst>
          </p:cNvPr>
          <p:cNvSpPr txBox="1"/>
          <p:nvPr/>
        </p:nvSpPr>
        <p:spPr>
          <a:xfrm>
            <a:off x="3086271" y="788247"/>
            <a:ext cx="695287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800" b="1" dirty="0">
                <a:latin typeface="Arial" panose="020B0604020202020204" pitchFamily="34" charset="0"/>
                <a:cs typeface="Arial" panose="020B0604020202020204" pitchFamily="34" charset="0"/>
              </a:rPr>
              <a:t>Creación de nuestro primer proyecto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ADD27A22-68E4-4922-9A47-D5C68095C072}"/>
              </a:ext>
            </a:extLst>
          </p:cNvPr>
          <p:cNvSpPr txBox="1"/>
          <p:nvPr/>
        </p:nvSpPr>
        <p:spPr>
          <a:xfrm>
            <a:off x="6468177" y="1784261"/>
            <a:ext cx="5265528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dirty="0"/>
              <a:t>9. Coloque el nombre del proyecto donde dice  “</a:t>
            </a:r>
            <a:r>
              <a:rPr lang="es-CL" dirty="0" err="1"/>
              <a:t>Repository</a:t>
            </a:r>
            <a:r>
              <a:rPr lang="es-CL" dirty="0"/>
              <a:t> </a:t>
            </a:r>
            <a:r>
              <a:rPr lang="es-CL" dirty="0" err="1"/>
              <a:t>name</a:t>
            </a:r>
            <a:r>
              <a:rPr lang="es-CL" dirty="0"/>
              <a:t>”</a:t>
            </a:r>
          </a:p>
          <a:p>
            <a:pPr algn="just"/>
            <a:r>
              <a:rPr lang="es-CL" dirty="0"/>
              <a:t>Donde Dice “Owner”, es el propietario del proyecto.</a:t>
            </a:r>
          </a:p>
          <a:p>
            <a:pPr algn="just"/>
            <a:endParaRPr lang="es-CL" dirty="0"/>
          </a:p>
          <a:p>
            <a:pPr algn="just"/>
            <a:r>
              <a:rPr lang="es-CL" dirty="0"/>
              <a:t>10. Puede incluir alguna descripción del proyecto.</a:t>
            </a:r>
          </a:p>
          <a:p>
            <a:pPr algn="just"/>
            <a:endParaRPr lang="es-CL" dirty="0"/>
          </a:p>
          <a:p>
            <a:pPr algn="just"/>
            <a:r>
              <a:rPr lang="es-CL" dirty="0"/>
              <a:t>11. Seleccione entre si prefiere que el proyecto sea público(Visible para todos) o privado (Solo usted tiene acceso y las personas a las cuales invite a colaborar).</a:t>
            </a:r>
          </a:p>
          <a:p>
            <a:pPr algn="just"/>
            <a:endParaRPr lang="es-CL" dirty="0"/>
          </a:p>
          <a:p>
            <a:pPr algn="just"/>
            <a:r>
              <a:rPr lang="es-CL" dirty="0"/>
              <a:t>12. Por último seleccione los tipos de licencias.</a:t>
            </a:r>
          </a:p>
          <a:p>
            <a:pPr algn="just"/>
            <a:endParaRPr lang="es-CL" dirty="0"/>
          </a:p>
          <a:p>
            <a:pPr algn="just"/>
            <a:r>
              <a:rPr lang="es-CL" dirty="0"/>
              <a:t>13. Finalmente cree el repositorio presionando en el botón “</a:t>
            </a:r>
            <a:r>
              <a:rPr lang="es-CL" dirty="0" err="1"/>
              <a:t>Create</a:t>
            </a:r>
            <a:r>
              <a:rPr lang="es-CL" dirty="0"/>
              <a:t> </a:t>
            </a:r>
            <a:r>
              <a:rPr lang="es-CL" dirty="0" err="1"/>
              <a:t>Repository</a:t>
            </a:r>
            <a:r>
              <a:rPr lang="es-CL" dirty="0"/>
              <a:t>”.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29001ED6-0C63-4064-8E42-27E7CEDAD1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5842" y="1447862"/>
            <a:ext cx="5440859" cy="5410138"/>
          </a:xfrm>
          <a:prstGeom prst="rect">
            <a:avLst/>
          </a:prstGeom>
        </p:spPr>
      </p:pic>
      <p:sp>
        <p:nvSpPr>
          <p:cNvPr id="7" name="Marcador de texto 24">
            <a:extLst>
              <a:ext uri="{FF2B5EF4-FFF2-40B4-BE49-F238E27FC236}">
                <a16:creationId xmlns:a16="http://schemas.microsoft.com/office/drawing/2014/main" id="{CA3DE16C-9096-1F41-A232-609B0EC1EB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8993" y="748950"/>
            <a:ext cx="2772465" cy="447927"/>
          </a:xfrm>
        </p:spPr>
        <p:txBody>
          <a:bodyPr/>
          <a:lstStyle/>
          <a:p>
            <a:pPr marL="0" indent="0" algn="ctr">
              <a:buNone/>
            </a:pPr>
            <a:r>
              <a:rPr lang="es-CL" sz="2911" dirty="0"/>
              <a:t>PGY1121</a:t>
            </a:r>
          </a:p>
        </p:txBody>
      </p:sp>
    </p:spTree>
    <p:extLst>
      <p:ext uri="{BB962C8B-B14F-4D97-AF65-F5344CB8AC3E}">
        <p14:creationId xmlns:p14="http://schemas.microsoft.com/office/powerpoint/2010/main" val="11484959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uadroTexto 5">
            <a:extLst>
              <a:ext uri="{FF2B5EF4-FFF2-40B4-BE49-F238E27FC236}">
                <a16:creationId xmlns:a16="http://schemas.microsoft.com/office/drawing/2014/main" id="{8B9FD3BC-D2FD-4810-A98C-640F134B8F89}"/>
              </a:ext>
            </a:extLst>
          </p:cNvPr>
          <p:cNvSpPr txBox="1"/>
          <p:nvPr/>
        </p:nvSpPr>
        <p:spPr>
          <a:xfrm>
            <a:off x="3190757" y="798351"/>
            <a:ext cx="70312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800" b="1" dirty="0">
                <a:latin typeface="Arial" panose="020B0604020202020204" pitchFamily="34" charset="0"/>
                <a:cs typeface="Arial" panose="020B0604020202020204" pitchFamily="34" charset="0"/>
              </a:rPr>
              <a:t>Creación de nuestro primer proyecto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ADD27A22-68E4-4922-9A47-D5C68095C072}"/>
              </a:ext>
            </a:extLst>
          </p:cNvPr>
          <p:cNvSpPr txBox="1"/>
          <p:nvPr/>
        </p:nvSpPr>
        <p:spPr>
          <a:xfrm>
            <a:off x="1114032" y="1562307"/>
            <a:ext cx="98010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dirty="0"/>
              <a:t>14. Una vez creado el proyecto, ya estaremos en condiciones de incluir nuestros códigos al aplicativo.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E57A5808-BD17-46C2-98DD-3E6C1E4EDA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8693" y="2058541"/>
            <a:ext cx="9766355" cy="3860996"/>
          </a:xfrm>
          <a:prstGeom prst="rect">
            <a:avLst/>
          </a:prstGeom>
        </p:spPr>
      </p:pic>
      <p:sp>
        <p:nvSpPr>
          <p:cNvPr id="7" name="Marcador de texto 24">
            <a:extLst>
              <a:ext uri="{FF2B5EF4-FFF2-40B4-BE49-F238E27FC236}">
                <a16:creationId xmlns:a16="http://schemas.microsoft.com/office/drawing/2014/main" id="{CA3DE16C-9096-1F41-A232-609B0EC1EB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8993" y="748950"/>
            <a:ext cx="2772465" cy="447927"/>
          </a:xfrm>
        </p:spPr>
        <p:txBody>
          <a:bodyPr/>
          <a:lstStyle/>
          <a:p>
            <a:pPr marL="0" indent="0" algn="ctr">
              <a:buNone/>
            </a:pPr>
            <a:r>
              <a:rPr lang="es-CL" sz="2911" dirty="0"/>
              <a:t>PGY1121</a:t>
            </a:r>
          </a:p>
        </p:txBody>
      </p:sp>
    </p:spTree>
    <p:extLst>
      <p:ext uri="{BB962C8B-B14F-4D97-AF65-F5344CB8AC3E}">
        <p14:creationId xmlns:p14="http://schemas.microsoft.com/office/powerpoint/2010/main" val="417824602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uadroTexto 5">
            <a:extLst>
              <a:ext uri="{FF2B5EF4-FFF2-40B4-BE49-F238E27FC236}">
                <a16:creationId xmlns:a16="http://schemas.microsoft.com/office/drawing/2014/main" id="{8B9FD3BC-D2FD-4810-A98C-640F134B8F89}"/>
              </a:ext>
            </a:extLst>
          </p:cNvPr>
          <p:cNvSpPr txBox="1"/>
          <p:nvPr/>
        </p:nvSpPr>
        <p:spPr>
          <a:xfrm>
            <a:off x="3084879" y="756068"/>
            <a:ext cx="71506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800" b="1" dirty="0">
                <a:latin typeface="Arial" panose="020B0604020202020204" pitchFamily="34" charset="0"/>
                <a:cs typeface="Arial" panose="020B0604020202020204" pitchFamily="34" charset="0"/>
              </a:rPr>
              <a:t>Realicemos un ejemplo práctico. 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556895A4-D9FD-43D2-9B54-899DE553684B}"/>
              </a:ext>
            </a:extLst>
          </p:cNvPr>
          <p:cNvSpPr txBox="1"/>
          <p:nvPr/>
        </p:nvSpPr>
        <p:spPr>
          <a:xfrm>
            <a:off x="8874492" y="2432865"/>
            <a:ext cx="310455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dirty="0"/>
              <a:t>La plantilla HTML llamada “sitio-web” la adaptaremos y realizaremos varios cambios, partiendo por modificar los textos al idioma español.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40C58627-B05F-4232-934F-5011CC79620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992" y="1423254"/>
            <a:ext cx="8570821" cy="5237428"/>
          </a:xfrm>
          <a:prstGeom prst="rect">
            <a:avLst/>
          </a:prstGeom>
        </p:spPr>
      </p:pic>
      <p:sp>
        <p:nvSpPr>
          <p:cNvPr id="7" name="Marcador de texto 24">
            <a:extLst>
              <a:ext uri="{FF2B5EF4-FFF2-40B4-BE49-F238E27FC236}">
                <a16:creationId xmlns:a16="http://schemas.microsoft.com/office/drawing/2014/main" id="{CA3DE16C-9096-1F41-A232-609B0EC1EB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8993" y="748950"/>
            <a:ext cx="2772465" cy="447927"/>
          </a:xfrm>
        </p:spPr>
        <p:txBody>
          <a:bodyPr/>
          <a:lstStyle/>
          <a:p>
            <a:pPr marL="0" indent="0" algn="ctr">
              <a:buNone/>
            </a:pPr>
            <a:r>
              <a:rPr lang="es-CL" sz="2911" dirty="0"/>
              <a:t>PGY1121</a:t>
            </a:r>
          </a:p>
        </p:txBody>
      </p:sp>
    </p:spTree>
    <p:extLst>
      <p:ext uri="{BB962C8B-B14F-4D97-AF65-F5344CB8AC3E}">
        <p14:creationId xmlns:p14="http://schemas.microsoft.com/office/powerpoint/2010/main" val="328141477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uadroTexto 5">
            <a:extLst>
              <a:ext uri="{FF2B5EF4-FFF2-40B4-BE49-F238E27FC236}">
                <a16:creationId xmlns:a16="http://schemas.microsoft.com/office/drawing/2014/main" id="{8B9FD3BC-D2FD-4810-A98C-640F134B8F89}"/>
              </a:ext>
            </a:extLst>
          </p:cNvPr>
          <p:cNvSpPr txBox="1"/>
          <p:nvPr/>
        </p:nvSpPr>
        <p:spPr>
          <a:xfrm>
            <a:off x="3152176" y="827545"/>
            <a:ext cx="71506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800" b="1" dirty="0">
                <a:latin typeface="Arial" panose="020B0604020202020204" pitchFamily="34" charset="0"/>
                <a:cs typeface="Arial" panose="020B0604020202020204" pitchFamily="34" charset="0"/>
              </a:rPr>
              <a:t>Realicemos un ejemplo práctico. 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47BE4335-9784-416F-B2DE-BBAA9ABB9D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71039" y="2620862"/>
            <a:ext cx="2962275" cy="790575"/>
          </a:xfrm>
          <a:prstGeom prst="rect">
            <a:avLst/>
          </a:prstGeom>
        </p:spPr>
      </p:pic>
      <p:sp>
        <p:nvSpPr>
          <p:cNvPr id="11" name="CuadroTexto 10">
            <a:extLst>
              <a:ext uri="{FF2B5EF4-FFF2-40B4-BE49-F238E27FC236}">
                <a16:creationId xmlns:a16="http://schemas.microsoft.com/office/drawing/2014/main" id="{F31423ED-128E-434E-82E9-DD689AECE127}"/>
              </a:ext>
            </a:extLst>
          </p:cNvPr>
          <p:cNvSpPr txBox="1"/>
          <p:nvPr/>
        </p:nvSpPr>
        <p:spPr>
          <a:xfrm>
            <a:off x="508705" y="2016558"/>
            <a:ext cx="80010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dirty="0"/>
              <a:t>14. Descomprimir el proyecto de ejemplo que se encuentra adjunto a esta práctica.</a:t>
            </a:r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F3208E87-539E-4BB0-9DB4-BE7B01A5F02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1039" y="4149824"/>
            <a:ext cx="9026770" cy="1639640"/>
          </a:xfrm>
          <a:prstGeom prst="rect">
            <a:avLst/>
          </a:prstGeom>
        </p:spPr>
      </p:pic>
      <p:sp>
        <p:nvSpPr>
          <p:cNvPr id="14" name="CuadroTexto 13">
            <a:extLst>
              <a:ext uri="{FF2B5EF4-FFF2-40B4-BE49-F238E27FC236}">
                <a16:creationId xmlns:a16="http://schemas.microsoft.com/office/drawing/2014/main" id="{0C9D5960-7025-422A-A036-06FD21D2BF46}"/>
              </a:ext>
            </a:extLst>
          </p:cNvPr>
          <p:cNvSpPr txBox="1"/>
          <p:nvPr/>
        </p:nvSpPr>
        <p:spPr>
          <a:xfrm>
            <a:off x="508705" y="3728792"/>
            <a:ext cx="87586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dirty="0"/>
              <a:t>15. Una vez descomprimido, debería verse de la siguiente forma.</a:t>
            </a:r>
          </a:p>
        </p:txBody>
      </p:sp>
      <p:sp>
        <p:nvSpPr>
          <p:cNvPr id="9" name="Marcador de texto 24">
            <a:extLst>
              <a:ext uri="{FF2B5EF4-FFF2-40B4-BE49-F238E27FC236}">
                <a16:creationId xmlns:a16="http://schemas.microsoft.com/office/drawing/2014/main" id="{CA3DE16C-9096-1F41-A232-609B0EC1EB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8993" y="748950"/>
            <a:ext cx="2772465" cy="447927"/>
          </a:xfrm>
        </p:spPr>
        <p:txBody>
          <a:bodyPr/>
          <a:lstStyle/>
          <a:p>
            <a:pPr marL="0" indent="0" algn="ctr">
              <a:buNone/>
            </a:pPr>
            <a:r>
              <a:rPr lang="es-CL" sz="2911" dirty="0"/>
              <a:t>PGY1121</a:t>
            </a:r>
          </a:p>
        </p:txBody>
      </p:sp>
    </p:spTree>
    <p:extLst>
      <p:ext uri="{BB962C8B-B14F-4D97-AF65-F5344CB8AC3E}">
        <p14:creationId xmlns:p14="http://schemas.microsoft.com/office/powerpoint/2010/main" val="288765703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uadroTexto 5">
            <a:extLst>
              <a:ext uri="{FF2B5EF4-FFF2-40B4-BE49-F238E27FC236}">
                <a16:creationId xmlns:a16="http://schemas.microsoft.com/office/drawing/2014/main" id="{8B9FD3BC-D2FD-4810-A98C-640F134B8F89}"/>
              </a:ext>
            </a:extLst>
          </p:cNvPr>
          <p:cNvSpPr txBox="1"/>
          <p:nvPr/>
        </p:nvSpPr>
        <p:spPr>
          <a:xfrm>
            <a:off x="3124990" y="765798"/>
            <a:ext cx="71506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800" b="1" dirty="0">
                <a:latin typeface="Arial" panose="020B0604020202020204" pitchFamily="34" charset="0"/>
                <a:cs typeface="Arial" panose="020B0604020202020204" pitchFamily="34" charset="0"/>
              </a:rPr>
              <a:t>Realicemos un ejemplo práctico. 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F31423ED-128E-434E-82E9-DD689AECE127}"/>
              </a:ext>
            </a:extLst>
          </p:cNvPr>
          <p:cNvSpPr txBox="1"/>
          <p:nvPr/>
        </p:nvSpPr>
        <p:spPr>
          <a:xfrm>
            <a:off x="779422" y="1821993"/>
            <a:ext cx="1118915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dirty="0"/>
              <a:t>16. Seleccionar todos los archivos y arrastrar dentro del proyecto creado en GitHub. Puede también ocuparse la opción de cargar el proyecto con el botón “Code” y cargar los archivos.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619FF6C2-837A-4228-A8C0-3AC8337A92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69695" y="2846408"/>
            <a:ext cx="5698880" cy="2678858"/>
          </a:xfrm>
          <a:prstGeom prst="rect">
            <a:avLst/>
          </a:prstGeom>
          <a:ln w="25400">
            <a:solidFill>
              <a:schemeClr val="accent1"/>
            </a:solidFill>
          </a:ln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F26D40B9-CDC7-4A4A-B844-B9028536CD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4788" y="2846408"/>
            <a:ext cx="5312019" cy="2678858"/>
          </a:xfrm>
          <a:prstGeom prst="rect">
            <a:avLst/>
          </a:prstGeom>
          <a:ln w="25400">
            <a:solidFill>
              <a:schemeClr val="accent1"/>
            </a:solidFill>
          </a:ln>
        </p:spPr>
      </p:pic>
      <p:sp>
        <p:nvSpPr>
          <p:cNvPr id="8" name="Marcador de texto 24">
            <a:extLst>
              <a:ext uri="{FF2B5EF4-FFF2-40B4-BE49-F238E27FC236}">
                <a16:creationId xmlns:a16="http://schemas.microsoft.com/office/drawing/2014/main" id="{CA3DE16C-9096-1F41-A232-609B0EC1EB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8993" y="748950"/>
            <a:ext cx="2772465" cy="447927"/>
          </a:xfrm>
        </p:spPr>
        <p:txBody>
          <a:bodyPr/>
          <a:lstStyle/>
          <a:p>
            <a:pPr marL="0" indent="0" algn="ctr">
              <a:buNone/>
            </a:pPr>
            <a:r>
              <a:rPr lang="es-CL" sz="2911" dirty="0"/>
              <a:t>PGY1121</a:t>
            </a:r>
          </a:p>
        </p:txBody>
      </p:sp>
    </p:spTree>
    <p:extLst>
      <p:ext uri="{BB962C8B-B14F-4D97-AF65-F5344CB8AC3E}">
        <p14:creationId xmlns:p14="http://schemas.microsoft.com/office/powerpoint/2010/main" val="27450202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uadroTexto 5">
            <a:extLst>
              <a:ext uri="{FF2B5EF4-FFF2-40B4-BE49-F238E27FC236}">
                <a16:creationId xmlns:a16="http://schemas.microsoft.com/office/drawing/2014/main" id="{8B9FD3BC-D2FD-4810-A98C-640F134B8F89}"/>
              </a:ext>
            </a:extLst>
          </p:cNvPr>
          <p:cNvSpPr txBox="1"/>
          <p:nvPr/>
        </p:nvSpPr>
        <p:spPr>
          <a:xfrm>
            <a:off x="3146194" y="767717"/>
            <a:ext cx="71506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800" b="1" dirty="0">
                <a:latin typeface="Arial" panose="020B0604020202020204" pitchFamily="34" charset="0"/>
                <a:cs typeface="Arial" panose="020B0604020202020204" pitchFamily="34" charset="0"/>
              </a:rPr>
              <a:t>Ejercitemos 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F31423ED-128E-434E-82E9-DD689AECE127}"/>
              </a:ext>
            </a:extLst>
          </p:cNvPr>
          <p:cNvSpPr txBox="1"/>
          <p:nvPr/>
        </p:nvSpPr>
        <p:spPr>
          <a:xfrm>
            <a:off x="367436" y="1675080"/>
            <a:ext cx="4608823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dirty="0"/>
              <a:t>17. Una vez finalizada la carga, al final de la página de GitHub, nos solicitará incluir un mensaje de acción de cambios llamada “</a:t>
            </a:r>
            <a:r>
              <a:rPr lang="es-CL" dirty="0" err="1"/>
              <a:t>Commit</a:t>
            </a:r>
            <a:r>
              <a:rPr lang="es-CL" dirty="0"/>
              <a:t> </a:t>
            </a:r>
            <a:r>
              <a:rPr lang="es-CL" dirty="0" err="1"/>
              <a:t>changes</a:t>
            </a:r>
            <a:r>
              <a:rPr lang="es-CL" dirty="0"/>
              <a:t>”</a:t>
            </a:r>
          </a:p>
          <a:p>
            <a:pPr algn="just"/>
            <a:endParaRPr lang="es-CL" dirty="0"/>
          </a:p>
          <a:p>
            <a:pPr algn="just"/>
            <a:r>
              <a:rPr lang="es-CL" dirty="0"/>
              <a:t>18. Podemos seleccionar entre la opción de realizar la carga en el directorio principal llamado “</a:t>
            </a:r>
            <a:r>
              <a:rPr lang="es-CL" dirty="0" err="1"/>
              <a:t>Main</a:t>
            </a:r>
            <a:r>
              <a:rPr lang="es-CL" dirty="0"/>
              <a:t>” o podemos escoger la opción de cargar en una rama del proyecto creado, las ramas se llaman “Branch”.</a:t>
            </a:r>
          </a:p>
          <a:p>
            <a:pPr algn="just"/>
            <a:endParaRPr lang="es-CL" dirty="0"/>
          </a:p>
          <a:p>
            <a:pPr algn="just"/>
            <a:r>
              <a:rPr lang="es-CL" dirty="0"/>
              <a:t>Como es una primera carga de todo nuestro proyecto, seleccionaremos la opción de “</a:t>
            </a:r>
            <a:r>
              <a:rPr lang="es-CL" dirty="0" err="1"/>
              <a:t>Commint</a:t>
            </a:r>
            <a:r>
              <a:rPr lang="es-CL" dirty="0"/>
              <a:t> </a:t>
            </a:r>
            <a:r>
              <a:rPr lang="es-CL" dirty="0" err="1"/>
              <a:t>directly</a:t>
            </a:r>
            <a:r>
              <a:rPr lang="es-CL" dirty="0"/>
              <a:t> </a:t>
            </a:r>
            <a:r>
              <a:rPr lang="es-CL" dirty="0" err="1"/>
              <a:t>to</a:t>
            </a:r>
            <a:r>
              <a:rPr lang="es-CL" dirty="0"/>
              <a:t> </a:t>
            </a:r>
            <a:r>
              <a:rPr lang="es-CL" dirty="0" err="1"/>
              <a:t>the</a:t>
            </a:r>
            <a:r>
              <a:rPr lang="es-CL" dirty="0"/>
              <a:t> </a:t>
            </a:r>
            <a:r>
              <a:rPr lang="es-CL" dirty="0" err="1"/>
              <a:t>main</a:t>
            </a:r>
            <a:r>
              <a:rPr lang="es-CL" dirty="0"/>
              <a:t> </a:t>
            </a:r>
            <a:r>
              <a:rPr lang="es-CL" dirty="0" err="1"/>
              <a:t>branch</a:t>
            </a:r>
            <a:r>
              <a:rPr lang="es-CL" dirty="0"/>
              <a:t>” para dejar en la raíz del proyecto. Finalmente presionaremos el botón “</a:t>
            </a:r>
            <a:r>
              <a:rPr lang="es-CL" dirty="0" err="1"/>
              <a:t>Commit</a:t>
            </a:r>
            <a:r>
              <a:rPr lang="es-CL" dirty="0"/>
              <a:t> </a:t>
            </a:r>
            <a:r>
              <a:rPr lang="es-CL" dirty="0" err="1"/>
              <a:t>changes</a:t>
            </a:r>
            <a:r>
              <a:rPr lang="es-CL" dirty="0"/>
              <a:t>”.</a:t>
            </a:r>
          </a:p>
        </p:txBody>
      </p:sp>
      <p:sp>
        <p:nvSpPr>
          <p:cNvPr id="10" name="Marcador de texto 24">
            <a:extLst>
              <a:ext uri="{FF2B5EF4-FFF2-40B4-BE49-F238E27FC236}">
                <a16:creationId xmlns:a16="http://schemas.microsoft.com/office/drawing/2014/main" id="{CA3DE16C-9096-1F41-A232-609B0EC1EB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8993" y="748950"/>
            <a:ext cx="2772465" cy="447927"/>
          </a:xfrm>
        </p:spPr>
        <p:txBody>
          <a:bodyPr/>
          <a:lstStyle/>
          <a:p>
            <a:pPr marL="0" indent="0" algn="ctr">
              <a:buNone/>
            </a:pPr>
            <a:r>
              <a:rPr lang="es-CL" sz="2911" dirty="0"/>
              <a:t>PGY1121</a:t>
            </a:r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83141" y="1789320"/>
            <a:ext cx="6896100" cy="441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967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uadroTexto 10">
            <a:extLst>
              <a:ext uri="{FF2B5EF4-FFF2-40B4-BE49-F238E27FC236}">
                <a16:creationId xmlns:a16="http://schemas.microsoft.com/office/drawing/2014/main" id="{F31423ED-128E-434E-82E9-DD689AECE127}"/>
              </a:ext>
            </a:extLst>
          </p:cNvPr>
          <p:cNvSpPr txBox="1"/>
          <p:nvPr/>
        </p:nvSpPr>
        <p:spPr>
          <a:xfrm>
            <a:off x="778379" y="1458064"/>
            <a:ext cx="87776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dirty="0"/>
              <a:t>19. Una vez realizado el proceso, veremos el siguiente resultado.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5E46188A-4C15-46C8-9BB1-BD02528DC9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171" y="2064774"/>
            <a:ext cx="9671537" cy="4585718"/>
          </a:xfrm>
          <a:prstGeom prst="rect">
            <a:avLst/>
          </a:prstGeom>
        </p:spPr>
      </p:pic>
      <p:sp>
        <p:nvSpPr>
          <p:cNvPr id="7" name="Marcador de texto 24">
            <a:extLst>
              <a:ext uri="{FF2B5EF4-FFF2-40B4-BE49-F238E27FC236}">
                <a16:creationId xmlns:a16="http://schemas.microsoft.com/office/drawing/2014/main" id="{CA3DE16C-9096-1F41-A232-609B0EC1EB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8993" y="748950"/>
            <a:ext cx="2772465" cy="447927"/>
          </a:xfrm>
        </p:spPr>
        <p:txBody>
          <a:bodyPr/>
          <a:lstStyle/>
          <a:p>
            <a:pPr marL="0" indent="0" algn="ctr">
              <a:buNone/>
            </a:pPr>
            <a:r>
              <a:rPr lang="es-CL" sz="2911" dirty="0"/>
              <a:t>PGY1121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8B9FD3BC-D2FD-4810-A98C-640F134B8F89}"/>
              </a:ext>
            </a:extLst>
          </p:cNvPr>
          <p:cNvSpPr txBox="1"/>
          <p:nvPr/>
        </p:nvSpPr>
        <p:spPr>
          <a:xfrm>
            <a:off x="3146194" y="767717"/>
            <a:ext cx="71506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800" b="1" dirty="0">
                <a:latin typeface="Arial" panose="020B0604020202020204" pitchFamily="34" charset="0"/>
                <a:cs typeface="Arial" panose="020B0604020202020204" pitchFamily="34" charset="0"/>
              </a:rPr>
              <a:t>Ejercitemos </a:t>
            </a:r>
          </a:p>
        </p:txBody>
      </p:sp>
    </p:spTree>
    <p:extLst>
      <p:ext uri="{BB962C8B-B14F-4D97-AF65-F5344CB8AC3E}">
        <p14:creationId xmlns:p14="http://schemas.microsoft.com/office/powerpoint/2010/main" val="316478934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uadroTexto 10">
            <a:extLst>
              <a:ext uri="{FF2B5EF4-FFF2-40B4-BE49-F238E27FC236}">
                <a16:creationId xmlns:a16="http://schemas.microsoft.com/office/drawing/2014/main" id="{F31423ED-128E-434E-82E9-DD689AECE127}"/>
              </a:ext>
            </a:extLst>
          </p:cNvPr>
          <p:cNvSpPr txBox="1"/>
          <p:nvPr/>
        </p:nvSpPr>
        <p:spPr>
          <a:xfrm>
            <a:off x="927588" y="1633290"/>
            <a:ext cx="479944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dirty="0"/>
              <a:t>20. ingresaremos al archivo index.html del proyecto en nuestro computador, y cambiaremos los textos al idioma español.</a:t>
            </a:r>
          </a:p>
          <a:p>
            <a:pPr algn="just"/>
            <a:endParaRPr lang="es-CL" dirty="0"/>
          </a:p>
          <a:p>
            <a:pPr algn="just"/>
            <a:r>
              <a:rPr lang="es-CL" dirty="0"/>
              <a:t>21. Cambiaremos los textos y guardamos el archivo. 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8790AE6E-F72C-4603-AB47-1B5E1826E23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0868" y="4555137"/>
            <a:ext cx="10024696" cy="1536531"/>
          </a:xfrm>
          <a:prstGeom prst="rect">
            <a:avLst/>
          </a:prstGeom>
        </p:spPr>
      </p:pic>
      <p:sp>
        <p:nvSpPr>
          <p:cNvPr id="10" name="Marcador de texto 24">
            <a:extLst>
              <a:ext uri="{FF2B5EF4-FFF2-40B4-BE49-F238E27FC236}">
                <a16:creationId xmlns:a16="http://schemas.microsoft.com/office/drawing/2014/main" id="{CA3DE16C-9096-1F41-A232-609B0EC1EB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8993" y="748950"/>
            <a:ext cx="2772465" cy="447927"/>
          </a:xfrm>
        </p:spPr>
        <p:txBody>
          <a:bodyPr/>
          <a:lstStyle/>
          <a:p>
            <a:pPr marL="0" indent="0" algn="ctr">
              <a:buNone/>
            </a:pPr>
            <a:r>
              <a:rPr lang="es-CL" sz="2911" dirty="0"/>
              <a:t>PGY1121</a:t>
            </a:r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27031" y="1507137"/>
            <a:ext cx="5762625" cy="3048000"/>
          </a:xfrm>
          <a:prstGeom prst="rect">
            <a:avLst/>
          </a:prstGeom>
        </p:spPr>
      </p:pic>
      <p:sp>
        <p:nvSpPr>
          <p:cNvPr id="14" name="CuadroTexto 13">
            <a:extLst>
              <a:ext uri="{FF2B5EF4-FFF2-40B4-BE49-F238E27FC236}">
                <a16:creationId xmlns:a16="http://schemas.microsoft.com/office/drawing/2014/main" id="{8B9FD3BC-D2FD-4810-A98C-640F134B8F89}"/>
              </a:ext>
            </a:extLst>
          </p:cNvPr>
          <p:cNvSpPr txBox="1"/>
          <p:nvPr/>
        </p:nvSpPr>
        <p:spPr>
          <a:xfrm>
            <a:off x="3146194" y="767717"/>
            <a:ext cx="71506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800" b="1" dirty="0">
                <a:latin typeface="Arial" panose="020B0604020202020204" pitchFamily="34" charset="0"/>
                <a:cs typeface="Arial" panose="020B0604020202020204" pitchFamily="34" charset="0"/>
              </a:rPr>
              <a:t>Ejercitemos: Realizar una modificación </a:t>
            </a:r>
          </a:p>
        </p:txBody>
      </p:sp>
    </p:spTree>
    <p:extLst>
      <p:ext uri="{BB962C8B-B14F-4D97-AF65-F5344CB8AC3E}">
        <p14:creationId xmlns:p14="http://schemas.microsoft.com/office/powerpoint/2010/main" val="403698453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uadroTexto 10">
            <a:extLst>
              <a:ext uri="{FF2B5EF4-FFF2-40B4-BE49-F238E27FC236}">
                <a16:creationId xmlns:a16="http://schemas.microsoft.com/office/drawing/2014/main" id="{F31423ED-128E-434E-82E9-DD689AECE127}"/>
              </a:ext>
            </a:extLst>
          </p:cNvPr>
          <p:cNvSpPr txBox="1"/>
          <p:nvPr/>
        </p:nvSpPr>
        <p:spPr>
          <a:xfrm>
            <a:off x="893882" y="1533121"/>
            <a:ext cx="1065643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dirty="0"/>
              <a:t>22. Iremos a GitHub, y crearemos nuestra primera rama “Branch”, con el fin de llegar el control de las versiones o modificaciones que hemos realizado a nuestro proyecto.</a:t>
            </a:r>
          </a:p>
          <a:p>
            <a:pPr algn="just"/>
            <a:endParaRPr lang="es-CL" dirty="0"/>
          </a:p>
          <a:p>
            <a:pPr algn="just"/>
            <a:endParaRPr lang="es-CL" dirty="0"/>
          </a:p>
          <a:p>
            <a:pPr algn="just"/>
            <a:endParaRPr lang="es-CL" dirty="0"/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A3030830-D3AE-43CF-80BB-DB0763714672}"/>
              </a:ext>
            </a:extLst>
          </p:cNvPr>
          <p:cNvSpPr txBox="1"/>
          <p:nvPr/>
        </p:nvSpPr>
        <p:spPr>
          <a:xfrm>
            <a:off x="893882" y="2572152"/>
            <a:ext cx="3723544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dirty="0"/>
              <a:t>23. Presionar sobre el Botón “</a:t>
            </a:r>
            <a:r>
              <a:rPr lang="es-CL" dirty="0" err="1"/>
              <a:t>main</a:t>
            </a:r>
            <a:r>
              <a:rPr lang="es-CL" dirty="0"/>
              <a:t>”, nombrar a la nueva rama “Cambio de idioma”, luego presionar la opción llamada “</a:t>
            </a:r>
            <a:r>
              <a:rPr lang="es-CL" dirty="0" err="1"/>
              <a:t>Create</a:t>
            </a:r>
            <a:r>
              <a:rPr lang="es-CL" dirty="0"/>
              <a:t> Branch: Cambio de idioma” </a:t>
            </a:r>
          </a:p>
          <a:p>
            <a:pPr algn="just"/>
            <a:endParaRPr lang="es-CL" dirty="0"/>
          </a:p>
          <a:p>
            <a:pPr algn="just"/>
            <a:endParaRPr lang="es-CL" dirty="0"/>
          </a:p>
        </p:txBody>
      </p:sp>
      <p:sp>
        <p:nvSpPr>
          <p:cNvPr id="13" name="Marcador de texto 24">
            <a:extLst>
              <a:ext uri="{FF2B5EF4-FFF2-40B4-BE49-F238E27FC236}">
                <a16:creationId xmlns:a16="http://schemas.microsoft.com/office/drawing/2014/main" id="{CA3DE16C-9096-1F41-A232-609B0EC1EB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8993" y="748950"/>
            <a:ext cx="2772465" cy="447927"/>
          </a:xfrm>
        </p:spPr>
        <p:txBody>
          <a:bodyPr/>
          <a:lstStyle/>
          <a:p>
            <a:pPr marL="0" indent="0" algn="ctr">
              <a:buNone/>
            </a:pPr>
            <a:r>
              <a:rPr lang="es-CL" sz="2911" dirty="0"/>
              <a:t>PGY1121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8B9FD3BC-D2FD-4810-A98C-640F134B8F89}"/>
              </a:ext>
            </a:extLst>
          </p:cNvPr>
          <p:cNvSpPr txBox="1"/>
          <p:nvPr/>
        </p:nvSpPr>
        <p:spPr>
          <a:xfrm>
            <a:off x="3146194" y="767717"/>
            <a:ext cx="71506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800" b="1" dirty="0">
                <a:latin typeface="Arial" panose="020B0604020202020204" pitchFamily="34" charset="0"/>
                <a:cs typeface="Arial" panose="020B0604020202020204" pitchFamily="34" charset="0"/>
              </a:rPr>
              <a:t>Ejercitemos: Realizar una modificación </a:t>
            </a:r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04710" y="2072181"/>
            <a:ext cx="7029450" cy="4124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151663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uadroTexto 10">
            <a:extLst>
              <a:ext uri="{FF2B5EF4-FFF2-40B4-BE49-F238E27FC236}">
                <a16:creationId xmlns:a16="http://schemas.microsoft.com/office/drawing/2014/main" id="{F31423ED-128E-434E-82E9-DD689AECE127}"/>
              </a:ext>
            </a:extLst>
          </p:cNvPr>
          <p:cNvSpPr txBox="1"/>
          <p:nvPr/>
        </p:nvSpPr>
        <p:spPr>
          <a:xfrm>
            <a:off x="1130350" y="1816960"/>
            <a:ext cx="85578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dirty="0"/>
              <a:t>24. El resultado debería verse de la siguiente manera: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74D81AA4-DBB6-4727-B4FD-A79D4A7075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27273" y="2333214"/>
            <a:ext cx="7242297" cy="3562172"/>
          </a:xfrm>
          <a:prstGeom prst="rect">
            <a:avLst/>
          </a:prstGeom>
        </p:spPr>
      </p:pic>
      <p:sp>
        <p:nvSpPr>
          <p:cNvPr id="7" name="Marcador de texto 24">
            <a:extLst>
              <a:ext uri="{FF2B5EF4-FFF2-40B4-BE49-F238E27FC236}">
                <a16:creationId xmlns:a16="http://schemas.microsoft.com/office/drawing/2014/main" id="{CA3DE16C-9096-1F41-A232-609B0EC1EB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8993" y="748950"/>
            <a:ext cx="2772465" cy="447927"/>
          </a:xfrm>
        </p:spPr>
        <p:txBody>
          <a:bodyPr/>
          <a:lstStyle/>
          <a:p>
            <a:pPr marL="0" indent="0" algn="ctr">
              <a:buNone/>
            </a:pPr>
            <a:r>
              <a:rPr lang="es-CL" sz="2911" dirty="0"/>
              <a:t>PGY1121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8B9FD3BC-D2FD-4810-A98C-640F134B8F89}"/>
              </a:ext>
            </a:extLst>
          </p:cNvPr>
          <p:cNvSpPr txBox="1"/>
          <p:nvPr/>
        </p:nvSpPr>
        <p:spPr>
          <a:xfrm>
            <a:off x="3146194" y="767717"/>
            <a:ext cx="71506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800" b="1" dirty="0">
                <a:latin typeface="Arial" panose="020B0604020202020204" pitchFamily="34" charset="0"/>
                <a:cs typeface="Arial" panose="020B0604020202020204" pitchFamily="34" charset="0"/>
              </a:rPr>
              <a:t>Ejercitemos: Realizar una modificación </a:t>
            </a:r>
          </a:p>
        </p:txBody>
      </p:sp>
    </p:spTree>
    <p:extLst>
      <p:ext uri="{BB962C8B-B14F-4D97-AF65-F5344CB8AC3E}">
        <p14:creationId xmlns:p14="http://schemas.microsoft.com/office/powerpoint/2010/main" val="21876541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/>
          <p:cNvSpPr txBox="1"/>
          <p:nvPr/>
        </p:nvSpPr>
        <p:spPr>
          <a:xfrm>
            <a:off x="3206680" y="748950"/>
            <a:ext cx="216277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2800" b="1" kern="0" dirty="0">
                <a:latin typeface="Arial" panose="020B0604020202020204" pitchFamily="34" charset="0"/>
                <a:cs typeface="Arial" panose="020B0604020202020204" pitchFamily="34" charset="0"/>
              </a:rPr>
              <a:t>Contenidos</a:t>
            </a:r>
            <a:endParaRPr lang="en-US" sz="28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768DDA80-6AA1-446B-9DFC-6B3415F6C00E}"/>
              </a:ext>
            </a:extLst>
          </p:cNvPr>
          <p:cNvSpPr txBox="1"/>
          <p:nvPr/>
        </p:nvSpPr>
        <p:spPr>
          <a:xfrm>
            <a:off x="2861231" y="2301453"/>
            <a:ext cx="7176655" cy="2954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s-CL" sz="2400" dirty="0">
                <a:solidFill>
                  <a:srgbClr val="0070C0"/>
                </a:solidFill>
              </a:rPr>
              <a:t>¿Qué es Git y GitHub?</a:t>
            </a:r>
          </a:p>
          <a:p>
            <a:pPr marL="342900" indent="-342900">
              <a:buFont typeface="+mj-lt"/>
              <a:buAutoNum type="arabicPeriod"/>
            </a:pPr>
            <a:r>
              <a:rPr lang="es-CL" sz="2400" dirty="0">
                <a:solidFill>
                  <a:srgbClr val="0070C0"/>
                </a:solidFill>
              </a:rPr>
              <a:t>Profundizando en GitHub</a:t>
            </a:r>
          </a:p>
          <a:p>
            <a:pPr marL="342900" indent="-342900">
              <a:buFont typeface="+mj-lt"/>
              <a:buAutoNum type="arabicPeriod"/>
            </a:pPr>
            <a:r>
              <a:rPr lang="es-CL" sz="2400" dirty="0">
                <a:solidFill>
                  <a:srgbClr val="0070C0"/>
                </a:solidFill>
              </a:rPr>
              <a:t>Como crear cuenta GitHub</a:t>
            </a:r>
          </a:p>
          <a:p>
            <a:pPr marL="342900" indent="-342900">
              <a:buFont typeface="+mj-lt"/>
              <a:buAutoNum type="arabicPeriod"/>
            </a:pPr>
            <a:r>
              <a:rPr lang="es-CL" sz="2400" dirty="0">
                <a:solidFill>
                  <a:srgbClr val="0070C0"/>
                </a:solidFill>
              </a:rPr>
              <a:t>Como crear proyecto</a:t>
            </a:r>
          </a:p>
          <a:p>
            <a:pPr marL="342900" indent="-342900">
              <a:buFont typeface="+mj-lt"/>
              <a:buAutoNum type="arabicPeriod"/>
            </a:pPr>
            <a:r>
              <a:rPr lang="es-CL" sz="2400" dirty="0">
                <a:solidFill>
                  <a:srgbClr val="0070C0"/>
                </a:solidFill>
              </a:rPr>
              <a:t>Como compartir proyecto</a:t>
            </a:r>
          </a:p>
          <a:p>
            <a:pPr marL="342900" indent="-342900">
              <a:buFont typeface="+mj-lt"/>
              <a:buAutoNum type="arabicPeriod"/>
            </a:pPr>
            <a:r>
              <a:rPr lang="es-CL" sz="2400" dirty="0">
                <a:solidFill>
                  <a:srgbClr val="0070C0"/>
                </a:solidFill>
              </a:rPr>
              <a:t>Como crear ramas y </a:t>
            </a:r>
            <a:r>
              <a:rPr lang="es-CL" sz="2400" dirty="0" err="1">
                <a:solidFill>
                  <a:srgbClr val="0070C0"/>
                </a:solidFill>
              </a:rPr>
              <a:t>Merge</a:t>
            </a:r>
            <a:endParaRPr lang="es-CL" sz="2400" dirty="0">
              <a:solidFill>
                <a:srgbClr val="0070C0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s-CL" sz="2400" dirty="0">
                <a:solidFill>
                  <a:srgbClr val="0070C0"/>
                </a:solidFill>
              </a:rPr>
              <a:t>Compartir Proyectos</a:t>
            </a:r>
          </a:p>
          <a:p>
            <a:r>
              <a:rPr lang="es-CL" dirty="0"/>
              <a:t> </a:t>
            </a:r>
          </a:p>
        </p:txBody>
      </p:sp>
      <p:sp>
        <p:nvSpPr>
          <p:cNvPr id="6" name="Marcador de texto 24">
            <a:extLst>
              <a:ext uri="{FF2B5EF4-FFF2-40B4-BE49-F238E27FC236}">
                <a16:creationId xmlns:a16="http://schemas.microsoft.com/office/drawing/2014/main" id="{CA3DE16C-9096-1F41-A232-609B0EC1EB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8993" y="748950"/>
            <a:ext cx="2772465" cy="447927"/>
          </a:xfrm>
        </p:spPr>
        <p:txBody>
          <a:bodyPr/>
          <a:lstStyle/>
          <a:p>
            <a:pPr marL="0" indent="0" algn="ctr">
              <a:buNone/>
            </a:pPr>
            <a:r>
              <a:rPr lang="es-CL" sz="2911" dirty="0"/>
              <a:t>PGY1121</a:t>
            </a:r>
          </a:p>
        </p:txBody>
      </p:sp>
    </p:spTree>
    <p:extLst>
      <p:ext uri="{BB962C8B-B14F-4D97-AF65-F5344CB8AC3E}">
        <p14:creationId xmlns:p14="http://schemas.microsoft.com/office/powerpoint/2010/main" val="161622654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uadroTexto 10">
            <a:extLst>
              <a:ext uri="{FF2B5EF4-FFF2-40B4-BE49-F238E27FC236}">
                <a16:creationId xmlns:a16="http://schemas.microsoft.com/office/drawing/2014/main" id="{F31423ED-128E-434E-82E9-DD689AECE127}"/>
              </a:ext>
            </a:extLst>
          </p:cNvPr>
          <p:cNvSpPr txBox="1"/>
          <p:nvPr/>
        </p:nvSpPr>
        <p:spPr>
          <a:xfrm>
            <a:off x="893883" y="1540326"/>
            <a:ext cx="101712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dirty="0"/>
              <a:t>25. Ahora cargaremos en la rama “Cambio-de-idioma” el archivo “index.html” de nuestro equipo, incorporar los detalles de modificación, y luego presionar el botón “</a:t>
            </a:r>
            <a:r>
              <a:rPr lang="es-CL" dirty="0" err="1"/>
              <a:t>Commit</a:t>
            </a:r>
            <a:r>
              <a:rPr lang="es-CL" dirty="0"/>
              <a:t> </a:t>
            </a:r>
            <a:r>
              <a:rPr lang="es-CL" dirty="0" err="1"/>
              <a:t>changes</a:t>
            </a:r>
            <a:r>
              <a:rPr lang="es-CL" dirty="0"/>
              <a:t>”.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6B9DCFC4-128A-4805-9DCF-7AF02A6923F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5175" y="2442494"/>
            <a:ext cx="10696575" cy="3714750"/>
          </a:xfrm>
          <a:prstGeom prst="rect">
            <a:avLst/>
          </a:prstGeom>
        </p:spPr>
      </p:pic>
      <p:sp>
        <p:nvSpPr>
          <p:cNvPr id="7" name="Marcador de texto 24">
            <a:extLst>
              <a:ext uri="{FF2B5EF4-FFF2-40B4-BE49-F238E27FC236}">
                <a16:creationId xmlns:a16="http://schemas.microsoft.com/office/drawing/2014/main" id="{CA3DE16C-9096-1F41-A232-609B0EC1EB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8993" y="748950"/>
            <a:ext cx="2772465" cy="447927"/>
          </a:xfrm>
        </p:spPr>
        <p:txBody>
          <a:bodyPr/>
          <a:lstStyle/>
          <a:p>
            <a:pPr marL="0" indent="0" algn="ctr">
              <a:buNone/>
            </a:pPr>
            <a:r>
              <a:rPr lang="es-CL" sz="2911" dirty="0"/>
              <a:t>PGY1121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8B9FD3BC-D2FD-4810-A98C-640F134B8F89}"/>
              </a:ext>
            </a:extLst>
          </p:cNvPr>
          <p:cNvSpPr txBox="1"/>
          <p:nvPr/>
        </p:nvSpPr>
        <p:spPr>
          <a:xfrm>
            <a:off x="3146194" y="767717"/>
            <a:ext cx="71506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800" b="1" dirty="0">
                <a:latin typeface="Arial" panose="020B0604020202020204" pitchFamily="34" charset="0"/>
                <a:cs typeface="Arial" panose="020B0604020202020204" pitchFamily="34" charset="0"/>
              </a:rPr>
              <a:t>Ejercitemos: Realizar una modificación </a:t>
            </a:r>
          </a:p>
        </p:txBody>
      </p:sp>
    </p:spTree>
    <p:extLst>
      <p:ext uri="{BB962C8B-B14F-4D97-AF65-F5344CB8AC3E}">
        <p14:creationId xmlns:p14="http://schemas.microsoft.com/office/powerpoint/2010/main" val="239388806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uadroTexto 10">
            <a:extLst>
              <a:ext uri="{FF2B5EF4-FFF2-40B4-BE49-F238E27FC236}">
                <a16:creationId xmlns:a16="http://schemas.microsoft.com/office/drawing/2014/main" id="{F31423ED-128E-434E-82E9-DD689AECE127}"/>
              </a:ext>
            </a:extLst>
          </p:cNvPr>
          <p:cNvSpPr txBox="1"/>
          <p:nvPr/>
        </p:nvSpPr>
        <p:spPr>
          <a:xfrm>
            <a:off x="585705" y="1579820"/>
            <a:ext cx="104452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dirty="0"/>
              <a:t>Para unir la modificación de cambio llamada “Cambio de idioma”  a la principal del proyecto llamada “</a:t>
            </a:r>
            <a:r>
              <a:rPr lang="es-CL" dirty="0" err="1"/>
              <a:t>main</a:t>
            </a:r>
            <a:r>
              <a:rPr lang="es-CL" dirty="0"/>
              <a:t>”, realizaremos una solicitud de unión de ramas llamada “</a:t>
            </a:r>
            <a:r>
              <a:rPr lang="es-CL" dirty="0" err="1"/>
              <a:t>Pull</a:t>
            </a:r>
            <a:r>
              <a:rPr lang="es-CL" dirty="0"/>
              <a:t> </a:t>
            </a:r>
            <a:r>
              <a:rPr lang="es-CL" dirty="0" err="1"/>
              <a:t>request</a:t>
            </a:r>
            <a:r>
              <a:rPr lang="es-CL" dirty="0"/>
              <a:t>”.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833DAE5F-AE4F-4052-958B-0DCFCB5FF6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61035" y="2305646"/>
            <a:ext cx="248841" cy="361950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B3CF0035-DEA0-4B5F-9C1E-B57A8CC720F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83016" y="2865417"/>
            <a:ext cx="247165" cy="326048"/>
          </a:xfrm>
          <a:prstGeom prst="rect">
            <a:avLst/>
          </a:prstGeom>
        </p:spPr>
      </p:pic>
      <p:pic>
        <p:nvPicPr>
          <p:cNvPr id="14" name="Imagen 13">
            <a:extLst>
              <a:ext uri="{FF2B5EF4-FFF2-40B4-BE49-F238E27FC236}">
                <a16:creationId xmlns:a16="http://schemas.microsoft.com/office/drawing/2014/main" id="{40C72F60-0C2C-47EC-99F4-0B3E32E8B8E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63356" y="3445019"/>
            <a:ext cx="286483" cy="328925"/>
          </a:xfrm>
          <a:prstGeom prst="rect">
            <a:avLst/>
          </a:prstGeom>
        </p:spPr>
      </p:pic>
      <p:sp>
        <p:nvSpPr>
          <p:cNvPr id="13" name="CuadroTexto 12">
            <a:extLst>
              <a:ext uri="{FF2B5EF4-FFF2-40B4-BE49-F238E27FC236}">
                <a16:creationId xmlns:a16="http://schemas.microsoft.com/office/drawing/2014/main" id="{B6BF127F-0E97-4C93-A0FC-AC906EA643E3}"/>
              </a:ext>
            </a:extLst>
          </p:cNvPr>
          <p:cNvSpPr txBox="1"/>
          <p:nvPr/>
        </p:nvSpPr>
        <p:spPr>
          <a:xfrm>
            <a:off x="585705" y="2729800"/>
            <a:ext cx="286013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dirty="0"/>
              <a:t>26. Presionaremos en el botón “Compare &amp; </a:t>
            </a:r>
            <a:r>
              <a:rPr lang="es-CL" dirty="0" err="1"/>
              <a:t>pull</a:t>
            </a:r>
            <a:r>
              <a:rPr lang="es-CL" dirty="0"/>
              <a:t> </a:t>
            </a:r>
            <a:r>
              <a:rPr lang="es-CL" dirty="0" err="1"/>
              <a:t>request</a:t>
            </a:r>
            <a:r>
              <a:rPr lang="es-CL" dirty="0"/>
              <a:t>”.</a:t>
            </a:r>
          </a:p>
        </p:txBody>
      </p:sp>
      <p:pic>
        <p:nvPicPr>
          <p:cNvPr id="15" name="Imagen 14">
            <a:extLst>
              <a:ext uri="{FF2B5EF4-FFF2-40B4-BE49-F238E27FC236}">
                <a16:creationId xmlns:a16="http://schemas.microsoft.com/office/drawing/2014/main" id="{C06B5BB7-5C6F-4F8C-893A-A51B72C8DB7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14652" y="2146656"/>
            <a:ext cx="7848600" cy="4000500"/>
          </a:xfrm>
          <a:prstGeom prst="rect">
            <a:avLst/>
          </a:prstGeom>
        </p:spPr>
      </p:pic>
      <p:sp>
        <p:nvSpPr>
          <p:cNvPr id="16" name="Marcador de texto 24">
            <a:extLst>
              <a:ext uri="{FF2B5EF4-FFF2-40B4-BE49-F238E27FC236}">
                <a16:creationId xmlns:a16="http://schemas.microsoft.com/office/drawing/2014/main" id="{CA3DE16C-9096-1F41-A232-609B0EC1EB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8993" y="748950"/>
            <a:ext cx="2772465" cy="447927"/>
          </a:xfrm>
        </p:spPr>
        <p:txBody>
          <a:bodyPr/>
          <a:lstStyle/>
          <a:p>
            <a:pPr marL="0" indent="0" algn="ctr">
              <a:buNone/>
            </a:pPr>
            <a:r>
              <a:rPr lang="es-CL" sz="2911" dirty="0"/>
              <a:t>PGY1121</a:t>
            </a: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8B9FD3BC-D2FD-4810-A98C-640F134B8F89}"/>
              </a:ext>
            </a:extLst>
          </p:cNvPr>
          <p:cNvSpPr txBox="1"/>
          <p:nvPr/>
        </p:nvSpPr>
        <p:spPr>
          <a:xfrm>
            <a:off x="3146194" y="767717"/>
            <a:ext cx="71506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800" b="1" dirty="0">
                <a:latin typeface="Arial" panose="020B0604020202020204" pitchFamily="34" charset="0"/>
                <a:cs typeface="Arial" panose="020B0604020202020204" pitchFamily="34" charset="0"/>
              </a:rPr>
              <a:t>Ejercitemos: Unir Ramas</a:t>
            </a:r>
          </a:p>
        </p:txBody>
      </p:sp>
    </p:spTree>
    <p:extLst>
      <p:ext uri="{BB962C8B-B14F-4D97-AF65-F5344CB8AC3E}">
        <p14:creationId xmlns:p14="http://schemas.microsoft.com/office/powerpoint/2010/main" val="326766586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uadroTexto 10">
            <a:extLst>
              <a:ext uri="{FF2B5EF4-FFF2-40B4-BE49-F238E27FC236}">
                <a16:creationId xmlns:a16="http://schemas.microsoft.com/office/drawing/2014/main" id="{F31423ED-128E-434E-82E9-DD689AECE127}"/>
              </a:ext>
            </a:extLst>
          </p:cNvPr>
          <p:cNvSpPr txBox="1"/>
          <p:nvPr/>
        </p:nvSpPr>
        <p:spPr>
          <a:xfrm>
            <a:off x="8748097" y="1644847"/>
            <a:ext cx="2891205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dirty="0"/>
              <a:t>27. GitHub nos indica por medio de un mensaje  que no hay problemas para unir ambas ramas, y que el proceso “</a:t>
            </a:r>
            <a:r>
              <a:rPr lang="es-CL" dirty="0" err="1"/>
              <a:t>Merge</a:t>
            </a:r>
            <a:r>
              <a:rPr lang="es-CL" dirty="0"/>
              <a:t>” esta disponible. Presionaremos el botón “</a:t>
            </a:r>
            <a:r>
              <a:rPr lang="es-CL" dirty="0" err="1"/>
              <a:t>Create</a:t>
            </a:r>
            <a:r>
              <a:rPr lang="es-CL" dirty="0"/>
              <a:t> </a:t>
            </a:r>
            <a:r>
              <a:rPr lang="es-CL" dirty="0" err="1"/>
              <a:t>pull</a:t>
            </a:r>
            <a:r>
              <a:rPr lang="es-CL" dirty="0"/>
              <a:t> </a:t>
            </a:r>
            <a:r>
              <a:rPr lang="es-CL" dirty="0" err="1"/>
              <a:t>request</a:t>
            </a:r>
            <a:r>
              <a:rPr lang="es-CL" dirty="0"/>
              <a:t>”.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3391A5CB-5FB9-4D72-9AAA-007A1FCD61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2740" y="1500468"/>
            <a:ext cx="7867650" cy="4943475"/>
          </a:xfrm>
          <a:prstGeom prst="rect">
            <a:avLst/>
          </a:prstGeom>
        </p:spPr>
      </p:pic>
      <p:sp>
        <p:nvSpPr>
          <p:cNvPr id="10" name="Marcador de texto 24">
            <a:extLst>
              <a:ext uri="{FF2B5EF4-FFF2-40B4-BE49-F238E27FC236}">
                <a16:creationId xmlns:a16="http://schemas.microsoft.com/office/drawing/2014/main" id="{CA3DE16C-9096-1F41-A232-609B0EC1EB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8993" y="748950"/>
            <a:ext cx="2772465" cy="447927"/>
          </a:xfrm>
        </p:spPr>
        <p:txBody>
          <a:bodyPr/>
          <a:lstStyle/>
          <a:p>
            <a:pPr marL="0" indent="0" algn="ctr">
              <a:buNone/>
            </a:pPr>
            <a:r>
              <a:rPr lang="es-CL" sz="2911" dirty="0"/>
              <a:t>PGY1121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8B9FD3BC-D2FD-4810-A98C-640F134B8F89}"/>
              </a:ext>
            </a:extLst>
          </p:cNvPr>
          <p:cNvSpPr txBox="1"/>
          <p:nvPr/>
        </p:nvSpPr>
        <p:spPr>
          <a:xfrm>
            <a:off x="3146194" y="767717"/>
            <a:ext cx="71506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800" b="1" dirty="0">
                <a:latin typeface="Arial" panose="020B0604020202020204" pitchFamily="34" charset="0"/>
                <a:cs typeface="Arial" panose="020B0604020202020204" pitchFamily="34" charset="0"/>
              </a:rPr>
              <a:t>Ejercitemos: Unir Ramas</a:t>
            </a:r>
          </a:p>
        </p:txBody>
      </p:sp>
    </p:spTree>
    <p:extLst>
      <p:ext uri="{BB962C8B-B14F-4D97-AF65-F5344CB8AC3E}">
        <p14:creationId xmlns:p14="http://schemas.microsoft.com/office/powerpoint/2010/main" val="88076024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uadroTexto 10">
            <a:extLst>
              <a:ext uri="{FF2B5EF4-FFF2-40B4-BE49-F238E27FC236}">
                <a16:creationId xmlns:a16="http://schemas.microsoft.com/office/drawing/2014/main" id="{F31423ED-128E-434E-82E9-DD689AECE127}"/>
              </a:ext>
            </a:extLst>
          </p:cNvPr>
          <p:cNvSpPr txBox="1"/>
          <p:nvPr/>
        </p:nvSpPr>
        <p:spPr>
          <a:xfrm>
            <a:off x="7638440" y="2421663"/>
            <a:ext cx="351724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dirty="0"/>
              <a:t>28. Presionaremos el botón “</a:t>
            </a:r>
            <a:r>
              <a:rPr lang="es-CL" dirty="0" err="1"/>
              <a:t>Merge</a:t>
            </a:r>
            <a:r>
              <a:rPr lang="es-CL" dirty="0"/>
              <a:t> </a:t>
            </a:r>
            <a:r>
              <a:rPr lang="es-CL" dirty="0" err="1"/>
              <a:t>pull</a:t>
            </a:r>
            <a:r>
              <a:rPr lang="es-CL" dirty="0"/>
              <a:t> request” para finalizar el proceso.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5F139578-2136-478C-99F1-9B49A055FF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8375" y="1371608"/>
            <a:ext cx="6286500" cy="5343525"/>
          </a:xfrm>
          <a:prstGeom prst="rect">
            <a:avLst/>
          </a:prstGeom>
        </p:spPr>
      </p:pic>
      <p:sp>
        <p:nvSpPr>
          <p:cNvPr id="7" name="Marcador de texto 24">
            <a:extLst>
              <a:ext uri="{FF2B5EF4-FFF2-40B4-BE49-F238E27FC236}">
                <a16:creationId xmlns:a16="http://schemas.microsoft.com/office/drawing/2014/main" id="{CA3DE16C-9096-1F41-A232-609B0EC1EB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8993" y="748950"/>
            <a:ext cx="2772465" cy="447927"/>
          </a:xfrm>
        </p:spPr>
        <p:txBody>
          <a:bodyPr/>
          <a:lstStyle/>
          <a:p>
            <a:pPr marL="0" indent="0" algn="ctr">
              <a:buNone/>
            </a:pPr>
            <a:r>
              <a:rPr lang="es-CL" sz="2911" dirty="0"/>
              <a:t>PGY1121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8B9FD3BC-D2FD-4810-A98C-640F134B8F89}"/>
              </a:ext>
            </a:extLst>
          </p:cNvPr>
          <p:cNvSpPr txBox="1"/>
          <p:nvPr/>
        </p:nvSpPr>
        <p:spPr>
          <a:xfrm>
            <a:off x="3146194" y="767717"/>
            <a:ext cx="71506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800" b="1" dirty="0">
                <a:latin typeface="Arial" panose="020B0604020202020204" pitchFamily="34" charset="0"/>
                <a:cs typeface="Arial" panose="020B0604020202020204" pitchFamily="34" charset="0"/>
              </a:rPr>
              <a:t>Ejercitemos: Unir Ramas</a:t>
            </a:r>
          </a:p>
        </p:txBody>
      </p:sp>
    </p:spTree>
    <p:extLst>
      <p:ext uri="{BB962C8B-B14F-4D97-AF65-F5344CB8AC3E}">
        <p14:creationId xmlns:p14="http://schemas.microsoft.com/office/powerpoint/2010/main" val="278592987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uadroTexto 10">
            <a:extLst>
              <a:ext uri="{FF2B5EF4-FFF2-40B4-BE49-F238E27FC236}">
                <a16:creationId xmlns:a16="http://schemas.microsoft.com/office/drawing/2014/main" id="{F31423ED-128E-434E-82E9-DD689AECE127}"/>
              </a:ext>
            </a:extLst>
          </p:cNvPr>
          <p:cNvSpPr txBox="1"/>
          <p:nvPr/>
        </p:nvSpPr>
        <p:spPr>
          <a:xfrm>
            <a:off x="7597925" y="1814520"/>
            <a:ext cx="4077519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dirty="0"/>
              <a:t>El resultado final de la unión de códigos,  se verá reflejado de la siguiente manera.</a:t>
            </a:r>
          </a:p>
          <a:p>
            <a:endParaRPr lang="es-CL" dirty="0"/>
          </a:p>
          <a:p>
            <a:pPr algn="just"/>
            <a:r>
              <a:rPr lang="es-CL" dirty="0"/>
              <a:t>Podemos crear las ramas que necesitemos, y luego, unir al principal para ir mejorando el desarrollo del producto.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C130CC1A-E367-4C00-9D6C-07072CAC76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7256" y="1507538"/>
            <a:ext cx="6134100" cy="5172075"/>
          </a:xfrm>
          <a:prstGeom prst="rect">
            <a:avLst/>
          </a:prstGeom>
        </p:spPr>
      </p:pic>
      <p:sp>
        <p:nvSpPr>
          <p:cNvPr id="7" name="Marcador de texto 24">
            <a:extLst>
              <a:ext uri="{FF2B5EF4-FFF2-40B4-BE49-F238E27FC236}">
                <a16:creationId xmlns:a16="http://schemas.microsoft.com/office/drawing/2014/main" id="{CA3DE16C-9096-1F41-A232-609B0EC1EB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8993" y="748950"/>
            <a:ext cx="2772465" cy="447927"/>
          </a:xfrm>
        </p:spPr>
        <p:txBody>
          <a:bodyPr/>
          <a:lstStyle/>
          <a:p>
            <a:pPr marL="0" indent="0" algn="ctr">
              <a:buNone/>
            </a:pPr>
            <a:r>
              <a:rPr lang="es-CL" sz="2911" dirty="0"/>
              <a:t>PGY1121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8B9FD3BC-D2FD-4810-A98C-640F134B8F89}"/>
              </a:ext>
            </a:extLst>
          </p:cNvPr>
          <p:cNvSpPr txBox="1"/>
          <p:nvPr/>
        </p:nvSpPr>
        <p:spPr>
          <a:xfrm>
            <a:off x="3146194" y="767717"/>
            <a:ext cx="71506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800" b="1" dirty="0">
                <a:latin typeface="Arial" panose="020B0604020202020204" pitchFamily="34" charset="0"/>
                <a:cs typeface="Arial" panose="020B0604020202020204" pitchFamily="34" charset="0"/>
              </a:rPr>
              <a:t>Ejercitemos: Unir Ramas</a:t>
            </a:r>
          </a:p>
        </p:txBody>
      </p:sp>
    </p:spTree>
    <p:extLst>
      <p:ext uri="{BB962C8B-B14F-4D97-AF65-F5344CB8AC3E}">
        <p14:creationId xmlns:p14="http://schemas.microsoft.com/office/powerpoint/2010/main" val="418479701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uadroTexto 5">
            <a:extLst>
              <a:ext uri="{FF2B5EF4-FFF2-40B4-BE49-F238E27FC236}">
                <a16:creationId xmlns:a16="http://schemas.microsoft.com/office/drawing/2014/main" id="{8B9FD3BC-D2FD-4810-A98C-640F134B8F89}"/>
              </a:ext>
            </a:extLst>
          </p:cNvPr>
          <p:cNvSpPr txBox="1"/>
          <p:nvPr/>
        </p:nvSpPr>
        <p:spPr>
          <a:xfrm>
            <a:off x="3123741" y="827545"/>
            <a:ext cx="71506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800" b="1" dirty="0">
                <a:latin typeface="Arial" panose="020B0604020202020204" pitchFamily="34" charset="0"/>
                <a:cs typeface="Arial" panose="020B0604020202020204" pitchFamily="34" charset="0"/>
              </a:rPr>
              <a:t>Trabajar Colaborativamente en GitHub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F31423ED-128E-434E-82E9-DD689AECE127}"/>
              </a:ext>
            </a:extLst>
          </p:cNvPr>
          <p:cNvSpPr txBox="1"/>
          <p:nvPr/>
        </p:nvSpPr>
        <p:spPr>
          <a:xfrm>
            <a:off x="472858" y="1698886"/>
            <a:ext cx="1111860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dirty="0"/>
              <a:t>Una de las ventajas más grandes que tiene GitHub, es poder trabajar colaborativamente un proyecto de desarrollo, permitiendo desarrollar en grupos y trabajando en distintas partes del código, sin interferir a los demás compañeros de grupo. Para compartir un proyecto realizaremos la siguiente configuración.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DEFD3232-222A-4821-A510-4609EECF29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23741" y="2756643"/>
            <a:ext cx="8467725" cy="3371850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26E372D5-35FD-447C-92BC-3DB35FDCD531}"/>
              </a:ext>
            </a:extLst>
          </p:cNvPr>
          <p:cNvSpPr txBox="1"/>
          <p:nvPr/>
        </p:nvSpPr>
        <p:spPr>
          <a:xfrm>
            <a:off x="472858" y="3025498"/>
            <a:ext cx="265088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dirty="0"/>
              <a:t>1. Presionar sobre la opción “</a:t>
            </a:r>
            <a:r>
              <a:rPr lang="es-CL" dirty="0" err="1"/>
              <a:t>Setting</a:t>
            </a:r>
            <a:r>
              <a:rPr lang="es-CL" dirty="0"/>
              <a:t>”</a:t>
            </a:r>
          </a:p>
          <a:p>
            <a:endParaRPr lang="es-CL" dirty="0"/>
          </a:p>
          <a:p>
            <a:endParaRPr lang="es-CL" dirty="0"/>
          </a:p>
        </p:txBody>
      </p:sp>
      <p:sp>
        <p:nvSpPr>
          <p:cNvPr id="8" name="Marcador de texto 24">
            <a:extLst>
              <a:ext uri="{FF2B5EF4-FFF2-40B4-BE49-F238E27FC236}">
                <a16:creationId xmlns:a16="http://schemas.microsoft.com/office/drawing/2014/main" id="{CA3DE16C-9096-1F41-A232-609B0EC1EB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8993" y="748950"/>
            <a:ext cx="2772465" cy="447927"/>
          </a:xfrm>
        </p:spPr>
        <p:txBody>
          <a:bodyPr/>
          <a:lstStyle/>
          <a:p>
            <a:pPr marL="0" indent="0" algn="ctr">
              <a:buNone/>
            </a:pPr>
            <a:r>
              <a:rPr lang="es-CL" sz="2911" dirty="0"/>
              <a:t>PGY1121</a:t>
            </a:r>
          </a:p>
        </p:txBody>
      </p:sp>
    </p:spTree>
    <p:extLst>
      <p:ext uri="{BB962C8B-B14F-4D97-AF65-F5344CB8AC3E}">
        <p14:creationId xmlns:p14="http://schemas.microsoft.com/office/powerpoint/2010/main" val="36799786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uadroTexto 6">
            <a:extLst>
              <a:ext uri="{FF2B5EF4-FFF2-40B4-BE49-F238E27FC236}">
                <a16:creationId xmlns:a16="http://schemas.microsoft.com/office/drawing/2014/main" id="{26E372D5-35FD-447C-92BC-3DB35FDCD531}"/>
              </a:ext>
            </a:extLst>
          </p:cNvPr>
          <p:cNvSpPr txBox="1"/>
          <p:nvPr/>
        </p:nvSpPr>
        <p:spPr>
          <a:xfrm>
            <a:off x="637067" y="2100812"/>
            <a:ext cx="38321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dirty="0"/>
              <a:t>2. Seleccionar opción “Manage </a:t>
            </a:r>
            <a:r>
              <a:rPr lang="es-CL" dirty="0" err="1"/>
              <a:t>access</a:t>
            </a:r>
            <a:r>
              <a:rPr lang="es-CL" dirty="0"/>
              <a:t>”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0AD3D68C-DB91-42C4-854F-BC37D3C9A9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0079" y="1219140"/>
            <a:ext cx="5828827" cy="2967811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0D33674B-4343-469E-8893-767AFDBC024A}"/>
              </a:ext>
            </a:extLst>
          </p:cNvPr>
          <p:cNvSpPr txBox="1"/>
          <p:nvPr/>
        </p:nvSpPr>
        <p:spPr>
          <a:xfrm>
            <a:off x="637067" y="4179666"/>
            <a:ext cx="383212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dirty="0"/>
              <a:t>3. Presionar sobre el botón “invite a </a:t>
            </a:r>
            <a:r>
              <a:rPr lang="es-CL" dirty="0" err="1"/>
              <a:t>collaborator</a:t>
            </a:r>
            <a:r>
              <a:rPr lang="es-CL" dirty="0"/>
              <a:t>”</a:t>
            </a:r>
          </a:p>
          <a:p>
            <a:pPr algn="just"/>
            <a:endParaRPr lang="es-CL" dirty="0"/>
          </a:p>
          <a:p>
            <a:pPr algn="just"/>
            <a:endParaRPr lang="es-CL" dirty="0"/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B6F2AD52-8351-4E0F-88AB-EB4F4393FA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30079" y="4136538"/>
            <a:ext cx="4471881" cy="2486913"/>
          </a:xfrm>
          <a:prstGeom prst="rect">
            <a:avLst/>
          </a:prstGeom>
        </p:spPr>
      </p:pic>
      <p:sp>
        <p:nvSpPr>
          <p:cNvPr id="9" name="Marcador de texto 24">
            <a:extLst>
              <a:ext uri="{FF2B5EF4-FFF2-40B4-BE49-F238E27FC236}">
                <a16:creationId xmlns:a16="http://schemas.microsoft.com/office/drawing/2014/main" id="{CA3DE16C-9096-1F41-A232-609B0EC1EB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8993" y="748950"/>
            <a:ext cx="2772465" cy="447927"/>
          </a:xfrm>
        </p:spPr>
        <p:txBody>
          <a:bodyPr/>
          <a:lstStyle/>
          <a:p>
            <a:pPr marL="0" indent="0" algn="ctr">
              <a:buNone/>
            </a:pPr>
            <a:r>
              <a:rPr lang="es-CL" sz="2911" dirty="0"/>
              <a:t>PGY1121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8B9FD3BC-D2FD-4810-A98C-640F134B8F89}"/>
              </a:ext>
            </a:extLst>
          </p:cNvPr>
          <p:cNvSpPr txBox="1"/>
          <p:nvPr/>
        </p:nvSpPr>
        <p:spPr>
          <a:xfrm>
            <a:off x="3123741" y="827545"/>
            <a:ext cx="71506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800" b="1" dirty="0">
                <a:latin typeface="Arial" panose="020B0604020202020204" pitchFamily="34" charset="0"/>
                <a:cs typeface="Arial" panose="020B0604020202020204" pitchFamily="34" charset="0"/>
              </a:rPr>
              <a:t>Trabajar Colaborativamente en GitHub</a:t>
            </a:r>
          </a:p>
        </p:txBody>
      </p:sp>
    </p:spTree>
    <p:extLst>
      <p:ext uri="{BB962C8B-B14F-4D97-AF65-F5344CB8AC3E}">
        <p14:creationId xmlns:p14="http://schemas.microsoft.com/office/powerpoint/2010/main" val="351833148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uadroTexto 6">
            <a:extLst>
              <a:ext uri="{FF2B5EF4-FFF2-40B4-BE49-F238E27FC236}">
                <a16:creationId xmlns:a16="http://schemas.microsoft.com/office/drawing/2014/main" id="{26E372D5-35FD-447C-92BC-3DB35FDCD531}"/>
              </a:ext>
            </a:extLst>
          </p:cNvPr>
          <p:cNvSpPr txBox="1"/>
          <p:nvPr/>
        </p:nvSpPr>
        <p:spPr>
          <a:xfrm>
            <a:off x="591609" y="2094641"/>
            <a:ext cx="382638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dirty="0"/>
              <a:t>4. Escriba el nombre de usuario, nombre o correo del colaborador.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D0860456-7670-44AD-812D-C56DCD2199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70622" y="1350765"/>
            <a:ext cx="6110288" cy="2676811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35DFBFE3-56BB-4917-975D-649A010ED4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70622" y="4114887"/>
            <a:ext cx="4509721" cy="2557391"/>
          </a:xfrm>
          <a:prstGeom prst="rect">
            <a:avLst/>
          </a:prstGeom>
        </p:spPr>
      </p:pic>
      <p:sp>
        <p:nvSpPr>
          <p:cNvPr id="11" name="CuadroTexto 10">
            <a:extLst>
              <a:ext uri="{FF2B5EF4-FFF2-40B4-BE49-F238E27FC236}">
                <a16:creationId xmlns:a16="http://schemas.microsoft.com/office/drawing/2014/main" id="{9D931EB5-3C03-4A2D-ACA5-A82BAE44821F}"/>
              </a:ext>
            </a:extLst>
          </p:cNvPr>
          <p:cNvSpPr txBox="1"/>
          <p:nvPr/>
        </p:nvSpPr>
        <p:spPr>
          <a:xfrm>
            <a:off x="591610" y="4441952"/>
            <a:ext cx="382638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dirty="0"/>
              <a:t>5. Presione el botón para adjuntar al colaborador.</a:t>
            </a:r>
          </a:p>
          <a:p>
            <a:pPr algn="just"/>
            <a:endParaRPr lang="es-CL" dirty="0"/>
          </a:p>
          <a:p>
            <a:pPr algn="just"/>
            <a:endParaRPr lang="es-CL" dirty="0"/>
          </a:p>
        </p:txBody>
      </p:sp>
      <p:sp>
        <p:nvSpPr>
          <p:cNvPr id="9" name="Marcador de texto 24">
            <a:extLst>
              <a:ext uri="{FF2B5EF4-FFF2-40B4-BE49-F238E27FC236}">
                <a16:creationId xmlns:a16="http://schemas.microsoft.com/office/drawing/2014/main" id="{CA3DE16C-9096-1F41-A232-609B0EC1EB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8993" y="748950"/>
            <a:ext cx="2772465" cy="447927"/>
          </a:xfrm>
        </p:spPr>
        <p:txBody>
          <a:bodyPr/>
          <a:lstStyle/>
          <a:p>
            <a:pPr marL="0" indent="0" algn="ctr">
              <a:buNone/>
            </a:pPr>
            <a:r>
              <a:rPr lang="es-CL" sz="2911" dirty="0"/>
              <a:t>PGY1121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8B9FD3BC-D2FD-4810-A98C-640F134B8F89}"/>
              </a:ext>
            </a:extLst>
          </p:cNvPr>
          <p:cNvSpPr txBox="1"/>
          <p:nvPr/>
        </p:nvSpPr>
        <p:spPr>
          <a:xfrm>
            <a:off x="3123741" y="827545"/>
            <a:ext cx="71506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800" b="1" dirty="0">
                <a:latin typeface="Arial" panose="020B0604020202020204" pitchFamily="34" charset="0"/>
                <a:cs typeface="Arial" panose="020B0604020202020204" pitchFamily="34" charset="0"/>
              </a:rPr>
              <a:t>Trabajar Colaborativamente en GitHub</a:t>
            </a:r>
          </a:p>
        </p:txBody>
      </p:sp>
    </p:spTree>
    <p:extLst>
      <p:ext uri="{BB962C8B-B14F-4D97-AF65-F5344CB8AC3E}">
        <p14:creationId xmlns:p14="http://schemas.microsoft.com/office/powerpoint/2010/main" val="9552739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uadroTexto 6">
            <a:extLst>
              <a:ext uri="{FF2B5EF4-FFF2-40B4-BE49-F238E27FC236}">
                <a16:creationId xmlns:a16="http://schemas.microsoft.com/office/drawing/2014/main" id="{26E372D5-35FD-447C-92BC-3DB35FDCD531}"/>
              </a:ext>
            </a:extLst>
          </p:cNvPr>
          <p:cNvSpPr txBox="1"/>
          <p:nvPr/>
        </p:nvSpPr>
        <p:spPr>
          <a:xfrm>
            <a:off x="356135" y="1597300"/>
            <a:ext cx="3561348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dirty="0"/>
              <a:t>6. Una vez realizado el proceso anterior, se generarán los siguientes pasos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CL" dirty="0">
                <a:solidFill>
                  <a:srgbClr val="0070C0"/>
                </a:solidFill>
              </a:rPr>
              <a:t>A los invitados les llegará un correo de configuración, el cual deben aceptar.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CL" dirty="0">
                <a:solidFill>
                  <a:srgbClr val="C00000"/>
                </a:solidFill>
              </a:rPr>
              <a:t>Una vez hecho la aceptación, podrán ingresar a GitHub y verán sus proyectos junto con los proyectos compartidos desde el panel principal.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CL" dirty="0">
                <a:solidFill>
                  <a:srgbClr val="0070C0"/>
                </a:solidFill>
              </a:rPr>
              <a:t>Se podrán identificar debido a que los proyectos compartidos comienzan con el nombre del propietario.</a:t>
            </a:r>
          </a:p>
        </p:txBody>
      </p:sp>
      <p:sp>
        <p:nvSpPr>
          <p:cNvPr id="8" name="Marcador de texto 24">
            <a:extLst>
              <a:ext uri="{FF2B5EF4-FFF2-40B4-BE49-F238E27FC236}">
                <a16:creationId xmlns:a16="http://schemas.microsoft.com/office/drawing/2014/main" id="{CA3DE16C-9096-1F41-A232-609B0EC1EB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8993" y="748950"/>
            <a:ext cx="2772465" cy="447927"/>
          </a:xfrm>
        </p:spPr>
        <p:txBody>
          <a:bodyPr/>
          <a:lstStyle/>
          <a:p>
            <a:pPr marL="0" indent="0" algn="ctr">
              <a:buNone/>
            </a:pPr>
            <a:r>
              <a:rPr lang="es-CL" sz="2911" dirty="0"/>
              <a:t>PGY1121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8B9FD3BC-D2FD-4810-A98C-640F134B8F89}"/>
              </a:ext>
            </a:extLst>
          </p:cNvPr>
          <p:cNvSpPr txBox="1"/>
          <p:nvPr/>
        </p:nvSpPr>
        <p:spPr>
          <a:xfrm>
            <a:off x="3123741" y="827545"/>
            <a:ext cx="71506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800" b="1" dirty="0">
                <a:latin typeface="Arial" panose="020B0604020202020204" pitchFamily="34" charset="0"/>
                <a:cs typeface="Arial" panose="020B0604020202020204" pitchFamily="34" charset="0"/>
              </a:rPr>
              <a:t>Trabajar Colaborativamente en GitHub</a:t>
            </a:r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63728" y="1597300"/>
            <a:ext cx="7772400" cy="3686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5006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Marcador de texto 24">
            <a:extLst>
              <a:ext uri="{FF2B5EF4-FFF2-40B4-BE49-F238E27FC236}">
                <a16:creationId xmlns:a16="http://schemas.microsoft.com/office/drawing/2014/main" id="{CA3DE16C-9096-1F41-A232-609B0EC1EB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8993" y="748950"/>
            <a:ext cx="2772465" cy="447927"/>
          </a:xfrm>
        </p:spPr>
        <p:txBody>
          <a:bodyPr/>
          <a:lstStyle/>
          <a:p>
            <a:pPr marL="0" indent="0" algn="ctr">
              <a:buNone/>
            </a:pPr>
            <a:r>
              <a:rPr lang="es-CL" sz="2911" dirty="0"/>
              <a:t>PGY1121</a:t>
            </a:r>
          </a:p>
        </p:txBody>
      </p:sp>
      <p:sp>
        <p:nvSpPr>
          <p:cNvPr id="3" name="Rectángulo 2"/>
          <p:cNvSpPr/>
          <p:nvPr/>
        </p:nvSpPr>
        <p:spPr>
          <a:xfrm>
            <a:off x="5680130" y="3752454"/>
            <a:ext cx="5129060" cy="8317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092"/>
          </a:p>
        </p:txBody>
      </p:sp>
      <p:sp>
        <p:nvSpPr>
          <p:cNvPr id="9" name="object 16">
            <a:extLst>
              <a:ext uri="{FF2B5EF4-FFF2-40B4-BE49-F238E27FC236}">
                <a16:creationId xmlns:a16="http://schemas.microsoft.com/office/drawing/2014/main" id="{9960FC2D-3887-1646-A0CD-D2FB86584638}"/>
              </a:ext>
            </a:extLst>
          </p:cNvPr>
          <p:cNvSpPr txBox="1"/>
          <p:nvPr/>
        </p:nvSpPr>
        <p:spPr>
          <a:xfrm>
            <a:off x="1197979" y="1904145"/>
            <a:ext cx="6469085" cy="3685574"/>
          </a:xfrm>
          <a:prstGeom prst="rect">
            <a:avLst/>
          </a:prstGeom>
        </p:spPr>
        <p:txBody>
          <a:bodyPr vert="horz" wrap="square" lIns="0" tIns="55449" rIns="0" bIns="0" rtlCol="0">
            <a:spAutoFit/>
          </a:bodyPr>
          <a:lstStyle/>
          <a:p>
            <a:pPr algn="just"/>
            <a:r>
              <a:rPr lang="es-CL" sz="1940" b="1" dirty="0" err="1">
                <a:solidFill>
                  <a:srgbClr val="0070C0"/>
                </a:solidFill>
              </a:rPr>
              <a:t>Git</a:t>
            </a:r>
            <a:r>
              <a:rPr lang="es-CL" sz="1940" dirty="0"/>
              <a:t> es un proyecto de código abierto, el cual permite llevar un control de versiones de un proyecto. Es el sistema base de versiones. Se usa localmente.</a:t>
            </a:r>
          </a:p>
          <a:p>
            <a:pPr algn="just"/>
            <a:endParaRPr lang="es-CL" sz="1940" dirty="0"/>
          </a:p>
          <a:p>
            <a:pPr algn="just"/>
            <a:endParaRPr lang="es-CL" sz="1940" dirty="0"/>
          </a:p>
          <a:p>
            <a:pPr algn="just"/>
            <a:r>
              <a:rPr lang="es-CL" sz="1940" b="1" dirty="0">
                <a:solidFill>
                  <a:srgbClr val="0070C0"/>
                </a:solidFill>
              </a:rPr>
              <a:t>GitHub</a:t>
            </a:r>
            <a:r>
              <a:rPr lang="es-CL" sz="1940" dirty="0"/>
              <a:t> es una herramienta que trabaja con </a:t>
            </a:r>
            <a:r>
              <a:rPr lang="es-CL" sz="1940" dirty="0" err="1"/>
              <a:t>Git</a:t>
            </a:r>
            <a:r>
              <a:rPr lang="es-CL" sz="1940" dirty="0"/>
              <a:t>, y agrega la centralización de los proyectos en nube, interfaces muy sencillas de ocupar, junto con el control de versiones centralizado, permitiendo a varios desarrolladores unificar sus códigos en la nube de GitHub, mejorando la comunicación, el desarrollo, los respaldos y la unificación de códigos (todo en nube).</a:t>
            </a:r>
          </a:p>
          <a:p>
            <a:pPr marL="30805" algn="just">
              <a:lnSpc>
                <a:spcPct val="90000"/>
              </a:lnSpc>
              <a:spcBef>
                <a:spcPts val="606"/>
              </a:spcBef>
              <a:buClr>
                <a:srgbClr val="DE3075"/>
              </a:buClr>
              <a:buSzPts val="2800"/>
              <a:defRPr/>
            </a:pPr>
            <a:endParaRPr lang="es-MX" sz="1940" dirty="0">
              <a:latin typeface="Arial Narrow" panose="020B0606020202030204" pitchFamily="34" charset="0"/>
              <a:ea typeface="Consolas"/>
              <a:cs typeface="Consolas"/>
              <a:sym typeface="Consolas"/>
            </a:endParaRPr>
          </a:p>
        </p:txBody>
      </p:sp>
      <p:sp>
        <p:nvSpPr>
          <p:cNvPr id="10" name="Marcador de texto 23">
            <a:extLst>
              <a:ext uri="{FF2B5EF4-FFF2-40B4-BE49-F238E27FC236}">
                <a16:creationId xmlns:a16="http://schemas.microsoft.com/office/drawing/2014/main" id="{7DC26DCC-4222-CF4F-A4D0-5F8804ECD6CF}"/>
              </a:ext>
            </a:extLst>
          </p:cNvPr>
          <p:cNvSpPr txBox="1">
            <a:spLocks/>
          </p:cNvSpPr>
          <p:nvPr/>
        </p:nvSpPr>
        <p:spPr>
          <a:xfrm>
            <a:off x="3217624" y="773795"/>
            <a:ext cx="7716694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algn="r">
              <a:defRPr sz="5400" b="1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s-CL" sz="2800" kern="0" dirty="0" err="1"/>
              <a:t>Git</a:t>
            </a:r>
            <a:r>
              <a:rPr lang="es-CL" sz="2800" kern="0" dirty="0"/>
              <a:t> y GitHub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A05625C-8C7F-424A-A020-547080EE8A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6388" y="1972178"/>
            <a:ext cx="1855248" cy="7730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Imagen 7" descr="Icono&#10;&#10;Descripción generada automáticamente">
            <a:extLst>
              <a:ext uri="{FF2B5EF4-FFF2-40B4-BE49-F238E27FC236}">
                <a16:creationId xmlns:a16="http://schemas.microsoft.com/office/drawing/2014/main" id="{DAB58096-27BD-4178-BFEC-D88C9E4D5B0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5349" y="3399002"/>
            <a:ext cx="2840342" cy="1538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26171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04503934-4899-476D-B617-E67F8A6786D1}"/>
              </a:ext>
            </a:extLst>
          </p:cNvPr>
          <p:cNvSpPr txBox="1"/>
          <p:nvPr/>
        </p:nvSpPr>
        <p:spPr>
          <a:xfrm>
            <a:off x="3014309" y="674754"/>
            <a:ext cx="71506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800" b="1" kern="0" dirty="0">
                <a:latin typeface="Arial" panose="020B0604020202020204" pitchFamily="34" charset="0"/>
                <a:cs typeface="Arial" panose="020B0604020202020204" pitchFamily="34" charset="0"/>
              </a:rPr>
              <a:t>¿Cómo crear una cuenta?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B7075996-757F-4BB7-B412-7D7AA47AB7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0869" y="1632030"/>
            <a:ext cx="8102397" cy="4229755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9404B07E-B905-40A7-97D9-E02F95B56AD7}"/>
              </a:ext>
            </a:extLst>
          </p:cNvPr>
          <p:cNvSpPr txBox="1"/>
          <p:nvPr/>
        </p:nvSpPr>
        <p:spPr>
          <a:xfrm>
            <a:off x="8509374" y="2488687"/>
            <a:ext cx="331109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dirty="0"/>
              <a:t>1. Ingresar a </a:t>
            </a:r>
            <a:r>
              <a:rPr lang="es-CL" dirty="0">
                <a:hlinkClick r:id="rId3"/>
              </a:rPr>
              <a:t>https://GitHub.com</a:t>
            </a:r>
            <a:endParaRPr lang="es-CL" dirty="0"/>
          </a:p>
          <a:p>
            <a:pPr algn="just"/>
            <a:endParaRPr lang="es-CL" dirty="0"/>
          </a:p>
          <a:p>
            <a:pPr algn="just"/>
            <a:r>
              <a:rPr lang="es-CL" dirty="0"/>
              <a:t>2. Presionar sobre el botón “</a:t>
            </a:r>
            <a:r>
              <a:rPr lang="es-CL" dirty="0" err="1"/>
              <a:t>Sign</a:t>
            </a:r>
            <a:r>
              <a:rPr lang="es-CL" dirty="0"/>
              <a:t> up” ubicado a lado superior derecho de la pantalla</a:t>
            </a:r>
          </a:p>
        </p:txBody>
      </p:sp>
      <p:sp>
        <p:nvSpPr>
          <p:cNvPr id="7" name="Marcador de texto 24">
            <a:extLst>
              <a:ext uri="{FF2B5EF4-FFF2-40B4-BE49-F238E27FC236}">
                <a16:creationId xmlns:a16="http://schemas.microsoft.com/office/drawing/2014/main" id="{CA3DE16C-9096-1F41-A232-609B0EC1EB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8993" y="748950"/>
            <a:ext cx="2772465" cy="447927"/>
          </a:xfrm>
        </p:spPr>
        <p:txBody>
          <a:bodyPr/>
          <a:lstStyle/>
          <a:p>
            <a:pPr marL="0" indent="0" algn="ctr">
              <a:buNone/>
            </a:pPr>
            <a:r>
              <a:rPr lang="es-CL" sz="2911" dirty="0"/>
              <a:t>PGY1121</a:t>
            </a:r>
          </a:p>
        </p:txBody>
      </p:sp>
    </p:spTree>
    <p:extLst>
      <p:ext uri="{BB962C8B-B14F-4D97-AF65-F5344CB8AC3E}">
        <p14:creationId xmlns:p14="http://schemas.microsoft.com/office/powerpoint/2010/main" val="21184915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04503934-4899-476D-B617-E67F8A6786D1}"/>
              </a:ext>
            </a:extLst>
          </p:cNvPr>
          <p:cNvSpPr txBox="1"/>
          <p:nvPr/>
        </p:nvSpPr>
        <p:spPr>
          <a:xfrm>
            <a:off x="3004684" y="788247"/>
            <a:ext cx="71506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800" b="1" dirty="0">
                <a:latin typeface="Arial" panose="020B0604020202020204" pitchFamily="34" charset="0"/>
                <a:cs typeface="Arial" panose="020B0604020202020204" pitchFamily="34" charset="0"/>
              </a:rPr>
              <a:t>¿Cómo crear una cuenta?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9404B07E-B905-40A7-97D9-E02F95B56AD7}"/>
              </a:ext>
            </a:extLst>
          </p:cNvPr>
          <p:cNvSpPr txBox="1"/>
          <p:nvPr/>
        </p:nvSpPr>
        <p:spPr>
          <a:xfrm>
            <a:off x="8008219" y="2645127"/>
            <a:ext cx="3250131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dirty="0"/>
              <a:t>3. Completar los datos de registro</a:t>
            </a:r>
          </a:p>
          <a:p>
            <a:pPr algn="just"/>
            <a:endParaRPr lang="es-CL" dirty="0"/>
          </a:p>
          <a:p>
            <a:pPr algn="just"/>
            <a:r>
              <a:rPr lang="es-CL" dirty="0"/>
              <a:t>4. Presionar el botón “</a:t>
            </a:r>
            <a:r>
              <a:rPr lang="es-CL" dirty="0" err="1"/>
              <a:t>Create</a:t>
            </a:r>
            <a:r>
              <a:rPr lang="es-CL" dirty="0"/>
              <a:t> account” para crear su cuenta </a:t>
            </a:r>
          </a:p>
          <a:p>
            <a:pPr algn="just"/>
            <a:endParaRPr lang="es-CL" dirty="0"/>
          </a:p>
          <a:p>
            <a:pPr algn="just"/>
            <a:endParaRPr lang="es-CL" dirty="0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CF24DDC1-64E9-41A2-B8C1-42C7E1C701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4518" y="1351155"/>
            <a:ext cx="7084194" cy="5506845"/>
          </a:xfrm>
          <a:prstGeom prst="rect">
            <a:avLst/>
          </a:prstGeom>
        </p:spPr>
      </p:pic>
      <p:sp>
        <p:nvSpPr>
          <p:cNvPr id="7" name="Marcador de texto 24">
            <a:extLst>
              <a:ext uri="{FF2B5EF4-FFF2-40B4-BE49-F238E27FC236}">
                <a16:creationId xmlns:a16="http://schemas.microsoft.com/office/drawing/2014/main" id="{CA3DE16C-9096-1F41-A232-609B0EC1EB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8993" y="748950"/>
            <a:ext cx="2772465" cy="447927"/>
          </a:xfrm>
        </p:spPr>
        <p:txBody>
          <a:bodyPr/>
          <a:lstStyle/>
          <a:p>
            <a:pPr marL="0" indent="0" algn="ctr">
              <a:buNone/>
            </a:pPr>
            <a:r>
              <a:rPr lang="es-CL" sz="2911" dirty="0"/>
              <a:t>PGY1121</a:t>
            </a:r>
          </a:p>
        </p:txBody>
      </p:sp>
    </p:spTree>
    <p:extLst>
      <p:ext uri="{BB962C8B-B14F-4D97-AF65-F5344CB8AC3E}">
        <p14:creationId xmlns:p14="http://schemas.microsoft.com/office/powerpoint/2010/main" val="4811580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D188577E-F71D-40EE-A0F3-B4F7E7E5B1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16892" y="1311467"/>
            <a:ext cx="6747310" cy="4890411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2203EA6D-68E3-492B-BE54-103BA0705392}"/>
              </a:ext>
            </a:extLst>
          </p:cNvPr>
          <p:cNvSpPr txBox="1"/>
          <p:nvPr/>
        </p:nvSpPr>
        <p:spPr>
          <a:xfrm>
            <a:off x="3081687" y="788247"/>
            <a:ext cx="71506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800" b="1" dirty="0">
                <a:latin typeface="Arial" panose="020B0604020202020204" pitchFamily="34" charset="0"/>
                <a:cs typeface="Arial" panose="020B0604020202020204" pitchFamily="34" charset="0"/>
              </a:rPr>
              <a:t>¿Cómo crear una cuenta?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29665F42-B750-42CA-AF44-E9F8E04577C6}"/>
              </a:ext>
            </a:extLst>
          </p:cNvPr>
          <p:cNvSpPr txBox="1"/>
          <p:nvPr/>
        </p:nvSpPr>
        <p:spPr>
          <a:xfrm>
            <a:off x="529389" y="1766793"/>
            <a:ext cx="4350619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dirty="0"/>
              <a:t>5. Revisar la bandeja de entrada del correo electrónico registrado.</a:t>
            </a:r>
          </a:p>
          <a:p>
            <a:pPr algn="just"/>
            <a:endParaRPr lang="es-CL" dirty="0"/>
          </a:p>
          <a:p>
            <a:pPr algn="just"/>
            <a:r>
              <a:rPr lang="es-CL" dirty="0"/>
              <a:t>6. Presionar en cuadro marcado en amarillo para confirmar la cuenta.</a:t>
            </a:r>
          </a:p>
          <a:p>
            <a:pPr algn="just"/>
            <a:endParaRPr lang="es-CL" dirty="0"/>
          </a:p>
          <a:p>
            <a:pPr algn="just"/>
            <a:r>
              <a:rPr lang="es-CL" dirty="0"/>
              <a:t>7. Una vez confirmado el correo, ya se encontrará listo para acceder a la plataforma GitHub.</a:t>
            </a:r>
          </a:p>
          <a:p>
            <a:pPr algn="just"/>
            <a:endParaRPr lang="es-CL" dirty="0"/>
          </a:p>
          <a:p>
            <a:pPr algn="just"/>
            <a:r>
              <a:rPr lang="es-CL" sz="1600" b="1" dirty="0">
                <a:solidFill>
                  <a:srgbClr val="C00000"/>
                </a:solidFill>
              </a:rPr>
              <a:t>NOTA</a:t>
            </a:r>
            <a:r>
              <a:rPr lang="es-CL" sz="1600" dirty="0"/>
              <a:t>: </a:t>
            </a:r>
            <a:r>
              <a:rPr lang="es-CL" sz="1600" dirty="0">
                <a:solidFill>
                  <a:srgbClr val="0070C0"/>
                </a:solidFill>
              </a:rPr>
              <a:t>En caso de no encontrar el correo, puede ocurrir que caiga en la bandeja de “SPAM” o correo no deseado. </a:t>
            </a:r>
          </a:p>
          <a:p>
            <a:pPr algn="just"/>
            <a:endParaRPr lang="es-CL" dirty="0"/>
          </a:p>
          <a:p>
            <a:pPr algn="just"/>
            <a:endParaRPr lang="es-CL" dirty="0"/>
          </a:p>
        </p:txBody>
      </p:sp>
      <p:sp>
        <p:nvSpPr>
          <p:cNvPr id="7" name="Marcador de texto 24">
            <a:extLst>
              <a:ext uri="{FF2B5EF4-FFF2-40B4-BE49-F238E27FC236}">
                <a16:creationId xmlns:a16="http://schemas.microsoft.com/office/drawing/2014/main" id="{CA3DE16C-9096-1F41-A232-609B0EC1EB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8993" y="748950"/>
            <a:ext cx="2772465" cy="447927"/>
          </a:xfrm>
        </p:spPr>
        <p:txBody>
          <a:bodyPr/>
          <a:lstStyle/>
          <a:p>
            <a:pPr marL="0" indent="0" algn="ctr">
              <a:buNone/>
            </a:pPr>
            <a:r>
              <a:rPr lang="es-CL" sz="2911" dirty="0"/>
              <a:t>PGY1121</a:t>
            </a:r>
          </a:p>
        </p:txBody>
      </p:sp>
    </p:spTree>
    <p:extLst>
      <p:ext uri="{BB962C8B-B14F-4D97-AF65-F5344CB8AC3E}">
        <p14:creationId xmlns:p14="http://schemas.microsoft.com/office/powerpoint/2010/main" val="35155272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>
            <a:extLst>
              <a:ext uri="{FF2B5EF4-FFF2-40B4-BE49-F238E27FC236}">
                <a16:creationId xmlns:a16="http://schemas.microsoft.com/office/drawing/2014/main" id="{C9D74FCE-BC17-4328-90AA-D4F0E9B626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566" y="1391898"/>
            <a:ext cx="11475427" cy="4794341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2203EA6D-68E3-492B-BE54-103BA0705392}"/>
              </a:ext>
            </a:extLst>
          </p:cNvPr>
          <p:cNvSpPr txBox="1"/>
          <p:nvPr/>
        </p:nvSpPr>
        <p:spPr>
          <a:xfrm>
            <a:off x="3081520" y="748950"/>
            <a:ext cx="71506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800" b="1" dirty="0">
                <a:latin typeface="Arial" panose="020B0604020202020204" pitchFamily="34" charset="0"/>
                <a:cs typeface="Arial" panose="020B0604020202020204" pitchFamily="34" charset="0"/>
              </a:rPr>
              <a:t>Aspectos generales</a:t>
            </a:r>
          </a:p>
        </p:txBody>
      </p:sp>
      <p:sp>
        <p:nvSpPr>
          <p:cNvPr id="15" name="Elipse 14">
            <a:extLst>
              <a:ext uri="{FF2B5EF4-FFF2-40B4-BE49-F238E27FC236}">
                <a16:creationId xmlns:a16="http://schemas.microsoft.com/office/drawing/2014/main" id="{AA3D63C3-2E7F-4D69-A69F-7B3422A14FCA}"/>
              </a:ext>
            </a:extLst>
          </p:cNvPr>
          <p:cNvSpPr/>
          <p:nvPr/>
        </p:nvSpPr>
        <p:spPr>
          <a:xfrm>
            <a:off x="9563100" y="1081454"/>
            <a:ext cx="2835519" cy="4158761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482E74B6-4F04-4B6B-AF12-A760BFB85EDB}"/>
              </a:ext>
            </a:extLst>
          </p:cNvPr>
          <p:cNvSpPr txBox="1"/>
          <p:nvPr/>
        </p:nvSpPr>
        <p:spPr>
          <a:xfrm>
            <a:off x="1582614" y="1481504"/>
            <a:ext cx="40884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dirty="0">
                <a:solidFill>
                  <a:srgbClr val="FF0000"/>
                </a:solidFill>
              </a:rPr>
              <a:t>A</a:t>
            </a:r>
          </a:p>
        </p:txBody>
      </p:sp>
      <p:sp>
        <p:nvSpPr>
          <p:cNvPr id="17" name="Elipse 16">
            <a:extLst>
              <a:ext uri="{FF2B5EF4-FFF2-40B4-BE49-F238E27FC236}">
                <a16:creationId xmlns:a16="http://schemas.microsoft.com/office/drawing/2014/main" id="{35C1695A-41D4-4004-8D4B-3D12BFC7ABDB}"/>
              </a:ext>
            </a:extLst>
          </p:cNvPr>
          <p:cNvSpPr/>
          <p:nvPr/>
        </p:nvSpPr>
        <p:spPr>
          <a:xfrm>
            <a:off x="521676" y="1194289"/>
            <a:ext cx="2835519" cy="2923442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29DCAE23-A187-4DA7-A9F6-DE13F6974855}"/>
              </a:ext>
            </a:extLst>
          </p:cNvPr>
          <p:cNvSpPr txBox="1"/>
          <p:nvPr/>
        </p:nvSpPr>
        <p:spPr>
          <a:xfrm>
            <a:off x="10056933" y="2115119"/>
            <a:ext cx="40884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dirty="0">
                <a:solidFill>
                  <a:srgbClr val="FF0000"/>
                </a:solidFill>
              </a:rPr>
              <a:t>C</a:t>
            </a:r>
          </a:p>
        </p:txBody>
      </p:sp>
      <p:sp>
        <p:nvSpPr>
          <p:cNvPr id="20" name="Elipse 19">
            <a:extLst>
              <a:ext uri="{FF2B5EF4-FFF2-40B4-BE49-F238E27FC236}">
                <a16:creationId xmlns:a16="http://schemas.microsoft.com/office/drawing/2014/main" id="{EBE2E155-87D4-45BE-B22B-7764F73836D7}"/>
              </a:ext>
            </a:extLst>
          </p:cNvPr>
          <p:cNvSpPr/>
          <p:nvPr/>
        </p:nvSpPr>
        <p:spPr>
          <a:xfrm>
            <a:off x="2798150" y="3429000"/>
            <a:ext cx="6567855" cy="2923442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F486E51F-ABED-4326-94D1-4FD88E03ED27}"/>
              </a:ext>
            </a:extLst>
          </p:cNvPr>
          <p:cNvSpPr txBox="1"/>
          <p:nvPr/>
        </p:nvSpPr>
        <p:spPr>
          <a:xfrm>
            <a:off x="6051305" y="3695700"/>
            <a:ext cx="40884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dirty="0">
                <a:solidFill>
                  <a:srgbClr val="FF0000"/>
                </a:solidFill>
              </a:rPr>
              <a:t>B</a:t>
            </a:r>
          </a:p>
        </p:txBody>
      </p:sp>
      <p:sp>
        <p:nvSpPr>
          <p:cNvPr id="12" name="Marcador de texto 24">
            <a:extLst>
              <a:ext uri="{FF2B5EF4-FFF2-40B4-BE49-F238E27FC236}">
                <a16:creationId xmlns:a16="http://schemas.microsoft.com/office/drawing/2014/main" id="{CA3DE16C-9096-1F41-A232-609B0EC1EB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8993" y="748950"/>
            <a:ext cx="2772465" cy="447927"/>
          </a:xfrm>
        </p:spPr>
        <p:txBody>
          <a:bodyPr/>
          <a:lstStyle/>
          <a:p>
            <a:pPr marL="0" indent="0" algn="ctr">
              <a:buNone/>
            </a:pPr>
            <a:r>
              <a:rPr lang="es-CL" sz="2911" dirty="0"/>
              <a:t>PGY1121</a:t>
            </a:r>
          </a:p>
        </p:txBody>
      </p:sp>
    </p:spTree>
    <p:extLst>
      <p:ext uri="{BB962C8B-B14F-4D97-AF65-F5344CB8AC3E}">
        <p14:creationId xmlns:p14="http://schemas.microsoft.com/office/powerpoint/2010/main" val="3689148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uadroTexto 11">
            <a:extLst>
              <a:ext uri="{FF2B5EF4-FFF2-40B4-BE49-F238E27FC236}">
                <a16:creationId xmlns:a16="http://schemas.microsoft.com/office/drawing/2014/main" id="{29665F42-B750-42CA-AF44-E9F8E04577C6}"/>
              </a:ext>
            </a:extLst>
          </p:cNvPr>
          <p:cNvSpPr txBox="1"/>
          <p:nvPr/>
        </p:nvSpPr>
        <p:spPr>
          <a:xfrm>
            <a:off x="1482291" y="1968924"/>
            <a:ext cx="949296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dirty="0">
                <a:solidFill>
                  <a:srgbClr val="0070C0"/>
                </a:solidFill>
              </a:rPr>
              <a:t>A. Es donde podremos generar y administrar nuestros repositorios. Cada repositorio puede ser un proyecto de desarrollo. Revisaremos en las siguientes láminas como crear un proyecto.</a:t>
            </a:r>
          </a:p>
          <a:p>
            <a:pPr algn="just"/>
            <a:endParaRPr lang="es-CL" dirty="0">
              <a:solidFill>
                <a:srgbClr val="0070C0"/>
              </a:solidFill>
            </a:endParaRPr>
          </a:p>
          <a:p>
            <a:pPr algn="just"/>
            <a:r>
              <a:rPr lang="es-CL" dirty="0">
                <a:solidFill>
                  <a:srgbClr val="0070C0"/>
                </a:solidFill>
              </a:rPr>
              <a:t>B. Vemos el histórico de actividad de cada proyecto.</a:t>
            </a:r>
          </a:p>
          <a:p>
            <a:pPr algn="just"/>
            <a:endParaRPr lang="es-CL" dirty="0">
              <a:solidFill>
                <a:srgbClr val="0070C0"/>
              </a:solidFill>
            </a:endParaRPr>
          </a:p>
          <a:p>
            <a:pPr algn="just"/>
            <a:r>
              <a:rPr lang="es-CL" dirty="0">
                <a:solidFill>
                  <a:srgbClr val="0070C0"/>
                </a:solidFill>
              </a:rPr>
              <a:t>C. Opciones de perfil y configuración de proyectos.</a:t>
            </a:r>
          </a:p>
          <a:p>
            <a:pPr algn="just"/>
            <a:endParaRPr lang="es-CL" dirty="0"/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8B9FD3BC-D2FD-4810-A98C-640F134B8F89}"/>
              </a:ext>
            </a:extLst>
          </p:cNvPr>
          <p:cNvSpPr txBox="1"/>
          <p:nvPr/>
        </p:nvSpPr>
        <p:spPr>
          <a:xfrm>
            <a:off x="3104130" y="711303"/>
            <a:ext cx="71506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800" b="1" dirty="0">
                <a:latin typeface="Arial" panose="020B0604020202020204" pitchFamily="34" charset="0"/>
                <a:cs typeface="Arial" panose="020B0604020202020204" pitchFamily="34" charset="0"/>
              </a:rPr>
              <a:t>Aspectos generales: Secciones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D5456FCC-5D1F-45B0-A4C3-8AAD418B4367}"/>
              </a:ext>
            </a:extLst>
          </p:cNvPr>
          <p:cNvSpPr txBox="1"/>
          <p:nvPr/>
        </p:nvSpPr>
        <p:spPr>
          <a:xfrm>
            <a:off x="3805447" y="4772296"/>
            <a:ext cx="41353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b="1" dirty="0"/>
              <a:t>Ahora veremos como crear un proyecto.</a:t>
            </a:r>
          </a:p>
        </p:txBody>
      </p:sp>
      <p:sp>
        <p:nvSpPr>
          <p:cNvPr id="8" name="Marcador de texto 24">
            <a:extLst>
              <a:ext uri="{FF2B5EF4-FFF2-40B4-BE49-F238E27FC236}">
                <a16:creationId xmlns:a16="http://schemas.microsoft.com/office/drawing/2014/main" id="{CA3DE16C-9096-1F41-A232-609B0EC1EB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8993" y="748950"/>
            <a:ext cx="2772465" cy="447927"/>
          </a:xfrm>
        </p:spPr>
        <p:txBody>
          <a:bodyPr/>
          <a:lstStyle/>
          <a:p>
            <a:pPr marL="0" indent="0" algn="ctr">
              <a:buNone/>
            </a:pPr>
            <a:r>
              <a:rPr lang="es-CL" sz="2911" dirty="0"/>
              <a:t>PGY1121</a:t>
            </a:r>
          </a:p>
        </p:txBody>
      </p:sp>
    </p:spTree>
    <p:extLst>
      <p:ext uri="{BB962C8B-B14F-4D97-AF65-F5344CB8AC3E}">
        <p14:creationId xmlns:p14="http://schemas.microsoft.com/office/powerpoint/2010/main" val="42009398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id="{BB404053-BBDD-4B76-BABD-FB97C9DC5C9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48389" y="1608366"/>
            <a:ext cx="7965830" cy="4467018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8B9FD3BC-D2FD-4810-A98C-640F134B8F89}"/>
              </a:ext>
            </a:extLst>
          </p:cNvPr>
          <p:cNvSpPr txBox="1"/>
          <p:nvPr/>
        </p:nvSpPr>
        <p:spPr>
          <a:xfrm>
            <a:off x="3123380" y="788247"/>
            <a:ext cx="665588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800" b="1" dirty="0">
                <a:latin typeface="Arial" panose="020B0604020202020204" pitchFamily="34" charset="0"/>
                <a:cs typeface="Arial" panose="020B0604020202020204" pitchFamily="34" charset="0"/>
              </a:rPr>
              <a:t>Creación de nuestro primer proyecto</a:t>
            </a:r>
          </a:p>
        </p:txBody>
      </p:sp>
      <p:sp>
        <p:nvSpPr>
          <p:cNvPr id="8" name="Elipse 7">
            <a:extLst>
              <a:ext uri="{FF2B5EF4-FFF2-40B4-BE49-F238E27FC236}">
                <a16:creationId xmlns:a16="http://schemas.microsoft.com/office/drawing/2014/main" id="{B2A02B8C-375D-49DD-8FD0-602FE188F090}"/>
              </a:ext>
            </a:extLst>
          </p:cNvPr>
          <p:cNvSpPr/>
          <p:nvPr/>
        </p:nvSpPr>
        <p:spPr>
          <a:xfrm>
            <a:off x="5186260" y="2210405"/>
            <a:ext cx="1211872" cy="959825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ADD27A22-68E4-4922-9A47-D5C68095C072}"/>
              </a:ext>
            </a:extLst>
          </p:cNvPr>
          <p:cNvSpPr txBox="1"/>
          <p:nvPr/>
        </p:nvSpPr>
        <p:spPr>
          <a:xfrm>
            <a:off x="237764" y="2367151"/>
            <a:ext cx="33813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dirty="0"/>
              <a:t>8. Presionar en botón “New” para crear un nuevo repositorio.</a:t>
            </a:r>
          </a:p>
        </p:txBody>
      </p:sp>
      <p:sp>
        <p:nvSpPr>
          <p:cNvPr id="10" name="Marcador de texto 24">
            <a:extLst>
              <a:ext uri="{FF2B5EF4-FFF2-40B4-BE49-F238E27FC236}">
                <a16:creationId xmlns:a16="http://schemas.microsoft.com/office/drawing/2014/main" id="{CA3DE16C-9096-1F41-A232-609B0EC1EB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8993" y="748950"/>
            <a:ext cx="2772465" cy="447927"/>
          </a:xfrm>
        </p:spPr>
        <p:txBody>
          <a:bodyPr/>
          <a:lstStyle/>
          <a:p>
            <a:pPr marL="0" indent="0" algn="ctr">
              <a:buNone/>
            </a:pPr>
            <a:r>
              <a:rPr lang="es-CL" sz="2911" dirty="0"/>
              <a:t>PGY1121</a:t>
            </a:r>
          </a:p>
        </p:txBody>
      </p:sp>
    </p:spTree>
    <p:extLst>
      <p:ext uri="{BB962C8B-B14F-4D97-AF65-F5344CB8AC3E}">
        <p14:creationId xmlns:p14="http://schemas.microsoft.com/office/powerpoint/2010/main" val="34188486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34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54CBA08B7824894AA16DE9F2638AAE9B" ma:contentTypeVersion="3" ma:contentTypeDescription="Crear nuevo documento." ma:contentTypeScope="" ma:versionID="8d5f10729c62970b734de5ef879298b5">
  <xsd:schema xmlns:xsd="http://www.w3.org/2001/XMLSchema" xmlns:xs="http://www.w3.org/2001/XMLSchema" xmlns:p="http://schemas.microsoft.com/office/2006/metadata/properties" xmlns:ns2="7ff679ab-7b56-4e3a-bce0-ec1a424001f2" targetNamespace="http://schemas.microsoft.com/office/2006/metadata/properties" ma:root="true" ma:fieldsID="82ae55e5e6eb8a9a0474e54d5a4b9107" ns2:_="">
    <xsd:import namespace="7ff679ab-7b56-4e3a-bce0-ec1a424001f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ff679ab-7b56-4e3a-bce0-ec1a424001f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885854C-AA1C-4608-A3EB-231FB631A535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38B22A99-0E05-41B3-A48F-6AC1EC98E99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E773A21-A3BE-47B6-94B0-5DC0D6902F6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ff679ab-7b56-4e3a-bce0-ec1a424001f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43595</TotalTime>
  <Words>1232</Words>
  <Application>Microsoft Office PowerPoint</Application>
  <PresentationFormat>Panorámica</PresentationFormat>
  <Paragraphs>141</Paragraphs>
  <Slides>28</Slides>
  <Notes>1</Notes>
  <HiddenSlides>0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ítulos de diapositiva</vt:lpstr>
      </vt:variant>
      <vt:variant>
        <vt:i4>28</vt:i4>
      </vt:variant>
    </vt:vector>
  </HeadingPairs>
  <TitlesOfParts>
    <vt:vector size="29" baseType="lpstr">
      <vt:lpstr>Tema de Offic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Escuela Informática_DUOC</dc:creator>
  <cp:lastModifiedBy>HP</cp:lastModifiedBy>
  <cp:revision>584</cp:revision>
  <cp:lastPrinted>2019-12-16T18:33:25Z</cp:lastPrinted>
  <dcterms:created xsi:type="dcterms:W3CDTF">2019-07-02T13:07:19Z</dcterms:created>
  <dcterms:modified xsi:type="dcterms:W3CDTF">2022-12-28T21:33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4CBA08B7824894AA16DE9F2638AAE9B</vt:lpwstr>
  </property>
</Properties>
</file>